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Masters/slideMaster30.xml" ContentType="application/vnd.openxmlformats-officedocument.presentationml.slideMaster+xml"/>
  <Override PartName="/ppt/slideMasters/slideMaster31.xml" ContentType="application/vnd.openxmlformats-officedocument.presentationml.slideMaster+xml"/>
  <Override PartName="/ppt/slideMasters/slideMaster32.xml" ContentType="application/vnd.openxmlformats-officedocument.presentationml.slideMaster+xml"/>
  <Override PartName="/ppt/slideMasters/slideMaster33.xml" ContentType="application/vnd.openxmlformats-officedocument.presentationml.slideMaster+xml"/>
  <Override PartName="/ppt/slideMasters/slideMaster34.xml" ContentType="application/vnd.openxmlformats-officedocument.presentationml.slideMaster+xml"/>
  <Override PartName="/ppt/slideMasters/slideMaster35.xml" ContentType="application/vnd.openxmlformats-officedocument.presentationml.slideMaster+xml"/>
  <Override PartName="/ppt/slideMasters/slideMaster36.xml" ContentType="application/vnd.openxmlformats-officedocument.presentationml.slideMaster+xml"/>
  <Override PartName="/ppt/slideMasters/slideMaster37.xml" ContentType="application/vnd.openxmlformats-officedocument.presentationml.slideMaster+xml"/>
  <Override PartName="/ppt/slideMasters/slideMaster38.xml" ContentType="application/vnd.openxmlformats-officedocument.presentationml.slideMaster+xml"/>
  <Override PartName="/ppt/slideMasters/slideMaster39.xml" ContentType="application/vnd.openxmlformats-officedocument.presentationml.slideMaster+xml"/>
  <Override PartName="/ppt/slideMasters/slideMaster4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Masters/slideMaster4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Masters/slideMaster44.xml" ContentType="application/vnd.openxmlformats-officedocument.presentationml.slideMaster+xml"/>
  <Override PartName="/ppt/slideMasters/slideMaster45.xml" ContentType="application/vnd.openxmlformats-officedocument.presentationml.slideMaster+xml"/>
  <Override PartName="/ppt/slideMasters/slideMaster46.xml" ContentType="application/vnd.openxmlformats-officedocument.presentationml.slideMaster+xml"/>
  <Override PartName="/ppt/slideMasters/slideMaster47.xml" ContentType="application/vnd.openxmlformats-officedocument.presentationml.slideMaster+xml"/>
  <Override PartName="/ppt/slideMasters/slideMaster48.xml" ContentType="application/vnd.openxmlformats-officedocument.presentationml.slideMaster+xml"/>
  <Override PartName="/ppt/slideMasters/slideMaster49.xml" ContentType="application/vnd.openxmlformats-officedocument.presentationml.slideMaster+xml"/>
  <Override PartName="/ppt/slideMasters/slideMaster50.xml" ContentType="application/vnd.openxmlformats-officedocument.presentationml.slideMaster+xml"/>
  <Override PartName="/ppt/slideMasters/slideMaster51.xml" ContentType="application/vnd.openxmlformats-officedocument.presentationml.slideMaster+xml"/>
  <Override PartName="/ppt/slideMasters/slideMaster52.xml" ContentType="application/vnd.openxmlformats-officedocument.presentationml.slideMaster+xml"/>
  <Override PartName="/ppt/slideMasters/slideMaster53.xml" ContentType="application/vnd.openxmlformats-officedocument.presentationml.slideMaster+xml"/>
  <Override PartName="/ppt/slideMasters/slideMaster54.xml" ContentType="application/vnd.openxmlformats-officedocument.presentationml.slideMaster+xml"/>
  <Override PartName="/ppt/slideMasters/slideMaster55.xml" ContentType="application/vnd.openxmlformats-officedocument.presentationml.slideMaster+xml"/>
  <Override PartName="/ppt/slideMasters/slideMaster56.xml" ContentType="application/vnd.openxmlformats-officedocument.presentationml.slideMaster+xml"/>
  <Override PartName="/ppt/slideMasters/slideMaster57.xml" ContentType="application/vnd.openxmlformats-officedocument.presentationml.slideMaster+xml"/>
  <Override PartName="/ppt/slideMasters/slideMaster58.xml" ContentType="application/vnd.openxmlformats-officedocument.presentationml.slideMaster+xml"/>
  <Override PartName="/ppt/slideMasters/slideMaster59.xml" ContentType="application/vnd.openxmlformats-officedocument.presentationml.slideMaster+xml"/>
  <Override PartName="/ppt/slideMasters/slideMaster60.xml" ContentType="application/vnd.openxmlformats-officedocument.presentationml.slideMaster+xml"/>
  <Override PartName="/ppt/slideMasters/slideMaster6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theme/theme5.xml" ContentType="application/vnd.openxmlformats-officedocument.theme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6.xml" ContentType="application/vnd.openxmlformats-officedocument.theme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theme/theme7.xml" ContentType="application/vnd.openxmlformats-officedocument.theme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8.xml" ContentType="application/vnd.openxmlformats-officedocument.theme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9.xml" ContentType="application/vnd.openxmlformats-officedocument.theme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theme/theme10.xml" ContentType="application/vnd.openxmlformats-officedocument.theme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heme/theme11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2.xml" ContentType="application/vnd.openxmlformats-officedocument.theme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13.xml" ContentType="application/vnd.openxmlformats-officedocument.theme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theme/theme14.xml" ContentType="application/vnd.openxmlformats-officedocument.theme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theme/theme15.xml" ContentType="application/vnd.openxmlformats-officedocument.theme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6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theme/theme17.xml" ContentType="application/vnd.openxmlformats-officedocument.theme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18.xml" ContentType="application/vnd.openxmlformats-officedocument.theme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19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theme/theme20.xml" ContentType="application/vnd.openxmlformats-officedocument.theme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theme/theme21.xml" ContentType="application/vnd.openxmlformats-officedocument.theme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theme/theme22.xml" ContentType="application/vnd.openxmlformats-officedocument.theme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heme/theme23.xml" ContentType="application/vnd.openxmlformats-officedocument.theme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theme/theme24.xml" ContentType="application/vnd.openxmlformats-officedocument.theme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theme/theme25.xml" ContentType="application/vnd.openxmlformats-officedocument.theme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theme/theme26.xml" ContentType="application/vnd.openxmlformats-officedocument.theme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theme/theme27.xml" ContentType="application/vnd.openxmlformats-officedocument.theme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28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29.xml" ContentType="application/vnd.openxmlformats-officedocument.theme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theme/theme30.xml" ContentType="application/vnd.openxmlformats-officedocument.theme+xml"/>
  <Override PartName="/ppt/tags/tag1.xml" ContentType="application/vnd.openxmlformats-officedocument.presentationml.tags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theme/theme31.xml" ContentType="application/vnd.openxmlformats-officedocument.theme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theme/theme32.xml" ContentType="application/vnd.openxmlformats-officedocument.theme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theme/theme33.xml" ContentType="application/vnd.openxmlformats-officedocument.theme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theme/theme34.xml" ContentType="application/vnd.openxmlformats-officedocument.theme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theme/theme35.xml" ContentType="application/vnd.openxmlformats-officedocument.theme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theme/theme36.xml" ContentType="application/vnd.openxmlformats-officedocument.theme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theme/theme37.xml" ContentType="application/vnd.openxmlformats-officedocument.theme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theme/theme38.xml" ContentType="application/vnd.openxmlformats-officedocument.theme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theme/theme39.xml" ContentType="application/vnd.openxmlformats-officedocument.theme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theme/theme40.xml" ContentType="application/vnd.openxmlformats-officedocument.theme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theme/theme41.xml" ContentType="application/vnd.openxmlformats-officedocument.theme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theme/theme42.xml" ContentType="application/vnd.openxmlformats-officedocument.theme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theme/theme43.xml" ContentType="application/vnd.openxmlformats-officedocument.theme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theme/theme44.xml" ContentType="application/vnd.openxmlformats-officedocument.theme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theme/theme45.xml" ContentType="application/vnd.openxmlformats-officedocument.theme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theme/theme46.xml" ContentType="application/vnd.openxmlformats-officedocument.theme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theme/theme47.xml" ContentType="application/vnd.openxmlformats-officedocument.theme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theme/theme48.xml" ContentType="application/vnd.openxmlformats-officedocument.theme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theme/theme49.xml" ContentType="application/vnd.openxmlformats-officedocument.theme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theme/theme50.xml" ContentType="application/vnd.openxmlformats-officedocument.theme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theme/theme51.xml" ContentType="application/vnd.openxmlformats-officedocument.theme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theme/theme52.xml" ContentType="application/vnd.openxmlformats-officedocument.theme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theme/theme53.xml" ContentType="application/vnd.openxmlformats-officedocument.theme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theme/theme54.xml" ContentType="application/vnd.openxmlformats-officedocument.theme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theme/theme55.xml" ContentType="application/vnd.openxmlformats-officedocument.theme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theme/theme56.xml" ContentType="application/vnd.openxmlformats-officedocument.theme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theme/theme57.xml" ContentType="application/vnd.openxmlformats-officedocument.theme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theme/theme58.xml" ContentType="application/vnd.openxmlformats-officedocument.theme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theme/theme59.xml" ContentType="application/vnd.openxmlformats-officedocument.theme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theme/theme60.xml" ContentType="application/vnd.openxmlformats-officedocument.theme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theme/theme61.xml" ContentType="application/vnd.openxmlformats-officedocument.theme+xml"/>
  <Override PartName="/ppt/theme/theme6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72" r:id="rId2"/>
    <p:sldMasterId id="2147483684" r:id="rId3"/>
    <p:sldMasterId id="2147483699" r:id="rId4"/>
    <p:sldMasterId id="2147483711" r:id="rId5"/>
    <p:sldMasterId id="2147483726" r:id="rId6"/>
    <p:sldMasterId id="2147483742" r:id="rId7"/>
    <p:sldMasterId id="2147483756" r:id="rId8"/>
    <p:sldMasterId id="2147483768" r:id="rId9"/>
    <p:sldMasterId id="2147483782" r:id="rId10"/>
    <p:sldMasterId id="2147483796" r:id="rId11"/>
    <p:sldMasterId id="2147483810" r:id="rId12"/>
    <p:sldMasterId id="2147483822" r:id="rId13"/>
    <p:sldMasterId id="2147483835" r:id="rId14"/>
    <p:sldMasterId id="2147483848" r:id="rId15"/>
    <p:sldMasterId id="2147483860" r:id="rId16"/>
    <p:sldMasterId id="2147483872" r:id="rId17"/>
    <p:sldMasterId id="2147483884" r:id="rId18"/>
    <p:sldMasterId id="2147483898" r:id="rId19"/>
    <p:sldMasterId id="2147483912" r:id="rId20"/>
    <p:sldMasterId id="2147483926" r:id="rId21"/>
    <p:sldMasterId id="2147483940" r:id="rId22"/>
    <p:sldMasterId id="2147483952" r:id="rId23"/>
    <p:sldMasterId id="2147483964" r:id="rId24"/>
    <p:sldMasterId id="2147483976" r:id="rId25"/>
    <p:sldMasterId id="2147483988" r:id="rId26"/>
    <p:sldMasterId id="2147484000" r:id="rId27"/>
    <p:sldMasterId id="2147484015" r:id="rId28"/>
    <p:sldMasterId id="2147484028" r:id="rId29"/>
    <p:sldMasterId id="2147484040" r:id="rId30"/>
    <p:sldMasterId id="2147484056" r:id="rId31"/>
    <p:sldMasterId id="2147484068" r:id="rId32"/>
    <p:sldMasterId id="2147484082" r:id="rId33"/>
    <p:sldMasterId id="2147484094" r:id="rId34"/>
    <p:sldMasterId id="2147484107" r:id="rId35"/>
    <p:sldMasterId id="2147484121" r:id="rId36"/>
    <p:sldMasterId id="2147484134" r:id="rId37"/>
    <p:sldMasterId id="2147484149" r:id="rId38"/>
    <p:sldMasterId id="2147484163" r:id="rId39"/>
    <p:sldMasterId id="2147484175" r:id="rId40"/>
    <p:sldMasterId id="2147484188" r:id="rId41"/>
    <p:sldMasterId id="2147484202" r:id="rId42"/>
    <p:sldMasterId id="2147484216" r:id="rId43"/>
    <p:sldMasterId id="2147484230" r:id="rId44"/>
    <p:sldMasterId id="2147484245" r:id="rId45"/>
    <p:sldMasterId id="2147484257" r:id="rId46"/>
    <p:sldMasterId id="2147484269" r:id="rId47"/>
    <p:sldMasterId id="2147484281" r:id="rId48"/>
    <p:sldMasterId id="2147484295" r:id="rId49"/>
    <p:sldMasterId id="2147484310" r:id="rId50"/>
    <p:sldMasterId id="2147484324" r:id="rId51"/>
    <p:sldMasterId id="2147484338" r:id="rId52"/>
    <p:sldMasterId id="2147484352" r:id="rId53"/>
    <p:sldMasterId id="2147484367" r:id="rId54"/>
    <p:sldMasterId id="2147484381" r:id="rId55"/>
    <p:sldMasterId id="2147484396" r:id="rId56"/>
    <p:sldMasterId id="2147484410" r:id="rId57"/>
    <p:sldMasterId id="2147484425" r:id="rId58"/>
    <p:sldMasterId id="2147484439" r:id="rId59"/>
    <p:sldMasterId id="2147484453" r:id="rId60"/>
    <p:sldMasterId id="2147484467" r:id="rId61"/>
  </p:sldMasterIdLst>
  <p:notesMasterIdLst>
    <p:notesMasterId r:id="rId63"/>
  </p:notesMasterIdLst>
  <p:sldIdLst>
    <p:sldId id="263" r:id="rId62"/>
  </p:sldIdLst>
  <p:sldSz cx="9906000" cy="6858000" type="A4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12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802A"/>
    <a:srgbClr val="187A2F"/>
    <a:srgbClr val="06D8BF"/>
    <a:srgbClr val="4B731F"/>
    <a:srgbClr val="CFAFE7"/>
    <a:srgbClr val="E1CCF0"/>
    <a:srgbClr val="39554A"/>
    <a:srgbClr val="009900"/>
    <a:srgbClr val="22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601" autoAdjust="0"/>
    <p:restoredTop sz="94660"/>
  </p:normalViewPr>
  <p:slideViewPr>
    <p:cSldViewPr snapToGrid="0">
      <p:cViewPr varScale="1">
        <p:scale>
          <a:sx n="115" d="100"/>
          <a:sy n="115" d="100"/>
        </p:scale>
        <p:origin x="1164" y="108"/>
      </p:cViewPr>
      <p:guideLst>
        <p:guide orient="horz" pos="2160"/>
        <p:guide pos="312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Master" Target="slideMasters/slideMaster39.xml"/><Relationship Id="rId21" Type="http://schemas.openxmlformats.org/officeDocument/2006/relationships/slideMaster" Target="slideMasters/slideMaster21.xml"/><Relationship Id="rId34" Type="http://schemas.openxmlformats.org/officeDocument/2006/relationships/slideMaster" Target="slideMasters/slideMaster34.xml"/><Relationship Id="rId42" Type="http://schemas.openxmlformats.org/officeDocument/2006/relationships/slideMaster" Target="slideMasters/slideMaster42.xml"/><Relationship Id="rId47" Type="http://schemas.openxmlformats.org/officeDocument/2006/relationships/slideMaster" Target="slideMasters/slideMaster47.xml"/><Relationship Id="rId50" Type="http://schemas.openxmlformats.org/officeDocument/2006/relationships/slideMaster" Target="slideMasters/slideMaster50.xml"/><Relationship Id="rId55" Type="http://schemas.openxmlformats.org/officeDocument/2006/relationships/slideMaster" Target="slideMasters/slideMaster55.xml"/><Relationship Id="rId63" Type="http://schemas.openxmlformats.org/officeDocument/2006/relationships/notesMaster" Target="notesMasters/notesMaster1.xml"/><Relationship Id="rId7" Type="http://schemas.openxmlformats.org/officeDocument/2006/relationships/slideMaster" Target="slideMasters/slideMaster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Master" Target="slideMasters/slideMaster29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Master" Target="slideMasters/slideMaster32.xml"/><Relationship Id="rId37" Type="http://schemas.openxmlformats.org/officeDocument/2006/relationships/slideMaster" Target="slideMasters/slideMaster37.xml"/><Relationship Id="rId40" Type="http://schemas.openxmlformats.org/officeDocument/2006/relationships/slideMaster" Target="slideMasters/slideMaster40.xml"/><Relationship Id="rId45" Type="http://schemas.openxmlformats.org/officeDocument/2006/relationships/slideMaster" Target="slideMasters/slideMaster45.xml"/><Relationship Id="rId53" Type="http://schemas.openxmlformats.org/officeDocument/2006/relationships/slideMaster" Target="slideMasters/slideMaster53.xml"/><Relationship Id="rId58" Type="http://schemas.openxmlformats.org/officeDocument/2006/relationships/slideMaster" Target="slideMasters/slideMaster58.xml"/><Relationship Id="rId66" Type="http://schemas.openxmlformats.org/officeDocument/2006/relationships/theme" Target="theme/theme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Master" Target="slideMasters/slideMaster36.xml"/><Relationship Id="rId49" Type="http://schemas.openxmlformats.org/officeDocument/2006/relationships/slideMaster" Target="slideMasters/slideMaster49.xml"/><Relationship Id="rId57" Type="http://schemas.openxmlformats.org/officeDocument/2006/relationships/slideMaster" Target="slideMasters/slideMaster57.xml"/><Relationship Id="rId61" Type="http://schemas.openxmlformats.org/officeDocument/2006/relationships/slideMaster" Target="slideMasters/slideMaster6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Master" Target="slideMasters/slideMaster31.xml"/><Relationship Id="rId44" Type="http://schemas.openxmlformats.org/officeDocument/2006/relationships/slideMaster" Target="slideMasters/slideMaster44.xml"/><Relationship Id="rId52" Type="http://schemas.openxmlformats.org/officeDocument/2006/relationships/slideMaster" Target="slideMasters/slideMaster52.xml"/><Relationship Id="rId60" Type="http://schemas.openxmlformats.org/officeDocument/2006/relationships/slideMaster" Target="slideMasters/slideMaster60.xml"/><Relationship Id="rId65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Master" Target="slideMasters/slideMaster30.xml"/><Relationship Id="rId35" Type="http://schemas.openxmlformats.org/officeDocument/2006/relationships/slideMaster" Target="slideMasters/slideMaster35.xml"/><Relationship Id="rId43" Type="http://schemas.openxmlformats.org/officeDocument/2006/relationships/slideMaster" Target="slideMasters/slideMaster43.xml"/><Relationship Id="rId48" Type="http://schemas.openxmlformats.org/officeDocument/2006/relationships/slideMaster" Target="slideMasters/slideMaster48.xml"/><Relationship Id="rId56" Type="http://schemas.openxmlformats.org/officeDocument/2006/relationships/slideMaster" Target="slideMasters/slideMaster56.xml"/><Relationship Id="rId64" Type="http://schemas.openxmlformats.org/officeDocument/2006/relationships/presProps" Target="presProps.xml"/><Relationship Id="rId8" Type="http://schemas.openxmlformats.org/officeDocument/2006/relationships/slideMaster" Target="slideMasters/slideMaster8.xml"/><Relationship Id="rId51" Type="http://schemas.openxmlformats.org/officeDocument/2006/relationships/slideMaster" Target="slideMasters/slideMaster51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Master" Target="slideMasters/slideMaster33.xml"/><Relationship Id="rId38" Type="http://schemas.openxmlformats.org/officeDocument/2006/relationships/slideMaster" Target="slideMasters/slideMaster38.xml"/><Relationship Id="rId46" Type="http://schemas.openxmlformats.org/officeDocument/2006/relationships/slideMaster" Target="slideMasters/slideMaster46.xml"/><Relationship Id="rId59" Type="http://schemas.openxmlformats.org/officeDocument/2006/relationships/slideMaster" Target="slideMasters/slideMaster59.xml"/><Relationship Id="rId67" Type="http://schemas.openxmlformats.org/officeDocument/2006/relationships/tableStyles" Target="tableStyles.xml"/><Relationship Id="rId20" Type="http://schemas.openxmlformats.org/officeDocument/2006/relationships/slideMaster" Target="slideMasters/slideMaster20.xml"/><Relationship Id="rId41" Type="http://schemas.openxmlformats.org/officeDocument/2006/relationships/slideMaster" Target="slideMasters/slideMaster41.xml"/><Relationship Id="rId54" Type="http://schemas.openxmlformats.org/officeDocument/2006/relationships/slideMaster" Target="slideMasters/slideMaster54.xml"/><Relationship Id="rId62" Type="http://schemas.openxmlformats.org/officeDocument/2006/relationships/slide" Target="slides/slid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3ECD6B-30E6-4FB3-A1F2-CACBB7A31433}" type="datetimeFigureOut">
              <a:rPr lang="ru-RU" smtClean="0"/>
              <a:pPr/>
              <a:t>04.1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1425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3" y="9428586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7" y="9428586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87B7A35-567E-4E75-9D70-E43DE64F8CC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5703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9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0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1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3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4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5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3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4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6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8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3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9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0.xml"/></Relationships>
</file>

<file path=ppt/slideLayouts/_rels/slideLayout3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0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1.bin"/></Relationships>
</file>

<file path=ppt/slideLayouts/_rels/slideLayout3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2.xml"/></Relationships>
</file>

<file path=ppt/slideLayouts/_rels/slideLayout3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4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4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5.xml"/></Relationships>
</file>

<file path=ppt/slideLayouts/_rels/slideLayout4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5.xml"/></Relationships>
</file>

<file path=ppt/slideLayouts/_rels/slideLayout4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6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6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7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8.xml"/></Relationships>
</file>

<file path=ppt/slideLayouts/_rels/slideLayout4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9.xml"/></Relationships>
</file>

<file path=ppt/slideLayouts/_rels/slideLayout4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0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0.xml"/></Relationships>
</file>

<file path=ppt/slideLayouts/_rels/slideLayout4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1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1.xml"/></Relationships>
</file>

<file path=ppt/slideLayouts/_rels/slideLayout4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2.xml"/></Relationships>
</file>

<file path=ppt/slideLayouts/_rels/slideLayout4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4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2.xml"/></Relationships>
</file>

<file path=ppt/slideLayouts/_rels/slideLayout5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3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4.xml"/></Relationships>
</file>

<file path=ppt/slideLayouts/_rels/slideLayout5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5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5.xml"/></Relationships>
</file>

<file path=ppt/slideLayouts/_rels/slideLayout5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6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6.xml"/></Relationships>
</file>

<file path=ppt/slideLayouts/_rels/slideLayout5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7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7.xml"/></Relationships>
</file>

<file path=ppt/slideLayouts/_rels/slideLayout5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8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8.xml"/></Relationships>
</file>

<file path=ppt/slideLayouts/_rels/slideLayout5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9.xml"/></Relationships>
</file>

<file path=ppt/slideLayouts/_rels/slideLayout5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0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0.xml"/></Relationships>
</file>

<file path=ppt/slideLayouts/_rels/slideLayout6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1.xml"/></Relationships>
</file>

<file path=ppt/slideLayouts/_rels/slideLayout6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1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2.xml"/></Relationships>
</file>

<file path=ppt/slideLayouts/_rels/slideLayout6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2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3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3.xml"/></Relationships>
</file>

<file path=ppt/slideLayouts/_rels/slideLayout6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4.xml"/></Relationships>
</file>

<file path=ppt/slideLayouts/_rels/slideLayout6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4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5.xml"/></Relationships>
</file>

<file path=ppt/slideLayouts/_rels/slideLayout6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6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6.xml"/></Relationships>
</file>

<file path=ppt/slideLayouts/_rels/slideLayout6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7.xml"/></Relationships>
</file>

<file path=ppt/slideLayouts/_rels/slideLayout7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8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8.xml"/></Relationships>
</file>

<file path=ppt/slideLayouts/_rels/slideLayout7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59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9.xml"/></Relationships>
</file>

<file path=ppt/slideLayouts/_rels/slideLayout7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0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0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61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8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13356949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6235826"/>
      </p:ext>
    </p:extLst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749666"/>
      </p:ext>
    </p:extLst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6234715"/>
      </p:ext>
    </p:extLst>
  </p:cSld>
  <p:clrMapOvr>
    <a:masterClrMapping/>
  </p:clrMapOvr>
  <p:transition>
    <p:fade/>
  </p:transition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6499206"/>
      </p:ext>
    </p:extLst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336574"/>
      </p:ext>
    </p:extLst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7845799"/>
      </p:ext>
    </p:extLst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3061785"/>
      </p:ext>
    </p:extLst>
  </p:cSld>
  <p:clrMapOvr>
    <a:masterClrMapping/>
  </p:clrMapOvr>
  <p:transition/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44982421"/>
      </p:ext>
    </p:extLst>
  </p:cSld>
  <p:clrMapOvr>
    <a:masterClrMapping/>
  </p:clrMapOvr>
  <p:transition/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7431091"/>
      </p:ext>
    </p:extLst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941611"/>
      </p:ext>
    </p:extLst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2341402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3472869"/>
      </p:ext>
    </p:extLst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392013"/>
      </p:ext>
    </p:extLst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906338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BF9C9-2F48-4FE2-9CF5-955AE983F12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4193690"/>
      </p:ext>
    </p:extLst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5098" y="6565903"/>
            <a:ext cx="23217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B6B83EF-47E3-4482-9018-FB97014F116C}" type="slidenum">
              <a:rPr lang="en-US" sz="812" smtClean="0">
                <a:solidFill>
                  <a:srgbClr val="41414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12" dirty="0">
              <a:solidFill>
                <a:srgbClr val="414142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463661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46162737"/>
      </p:ext>
    </p:extLst>
  </p:cSld>
  <p:clrMapOvr>
    <a:masterClrMapping/>
  </p:clrMapOvr>
  <p:transition>
    <p:fade/>
  </p:transition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9148342"/>
      </p:ext>
    </p:extLst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1877396"/>
      </p:ext>
    </p:extLst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34749"/>
      </p:ext>
    </p:extLst>
  </p:cSld>
  <p:clrMapOvr>
    <a:masterClrMapping/>
  </p:clrMapOvr>
  <p:transition/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2952063"/>
      </p:ext>
    </p:extLst>
  </p:cSld>
  <p:clrMapOvr>
    <a:masterClrMapping/>
  </p:clrMapOvr>
  <p:transition/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080940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758853813"/>
      </p:ext>
    </p:extLst>
  </p:cSld>
  <p:clrMapOvr>
    <a:masterClrMapping/>
  </p:clrMapOvr>
  <p:transition>
    <p:fade/>
  </p:transition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016703"/>
      </p:ext>
    </p:extLst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8884112"/>
      </p:ext>
    </p:extLst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4438909"/>
      </p:ext>
    </p:extLst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120549"/>
      </p:ext>
    </p:extLst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2092277"/>
      </p:ext>
    </p:extLst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D66ED-D840-41FA-BCD1-C8301C63164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2158464"/>
      </p:ext>
    </p:extLst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895931913"/>
      </p:ext>
    </p:extLst>
  </p:cSld>
  <p:clrMapOvr>
    <a:masterClrMapping/>
  </p:clrMapOvr>
  <p:transition>
    <p:fade/>
  </p:transition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493915"/>
      </p:ext>
    </p:extLst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4070709"/>
      </p:ext>
    </p:extLst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8611317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722749-ECE4-470C-968A-3E3BA1ECA34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8288552"/>
      </p:ext>
    </p:extLst>
  </p:cSld>
  <p:clrMapOvr>
    <a:masterClrMapping/>
  </p:clrMapOvr>
  <p:transition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053860"/>
      </p:ext>
    </p:extLst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1049049"/>
      </p:ext>
    </p:extLst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233992"/>
      </p:ext>
    </p:extLst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3109921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9108028"/>
      </p:ext>
    </p:extLst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1185968"/>
      </p:ext>
    </p:extLst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4518316"/>
      </p:ext>
    </p:extLst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BF9C9-2F48-4FE2-9CF5-955AE983F12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5267450"/>
      </p:ext>
    </p:extLst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5098" y="6565903"/>
            <a:ext cx="23217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B6B83EF-47E3-4482-9018-FB97014F116C}" type="slidenum">
              <a:rPr lang="en-US" sz="812" smtClean="0">
                <a:solidFill>
                  <a:srgbClr val="41414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12" dirty="0">
              <a:solidFill>
                <a:srgbClr val="414142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73860316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42" y="293691"/>
            <a:ext cx="1814381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34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4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406382977"/>
      </p:ext>
    </p:extLst>
  </p:cSld>
  <p:clrMapOvr>
    <a:masterClrMapping/>
  </p:clrMapOvr>
  <p:transition>
    <p:fade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81103A-E74B-400D-99D7-A82E0FB76F0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53058176"/>
      </p:ext>
    </p:extLst>
  </p:cSld>
  <p:clrMapOvr>
    <a:masterClrMapping/>
  </p:clrMapOvr>
  <p:transition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39FE79E-A81E-4302-B9B0-C6CA2C3631A1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8042922"/>
      </p:ext>
    </p:extLst>
  </p:cSld>
  <p:clrMapOvr>
    <a:masterClrMapping/>
  </p:clrMapOvr>
  <p:transition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9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D8A4BC-E407-46DF-94D6-76084596FCBF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7780960"/>
      </p:ext>
    </p:extLst>
  </p:cSld>
  <p:clrMapOvr>
    <a:masterClrMapping/>
  </p:clrMapOvr>
  <p:transition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1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A1EAEC0-0A4A-4B85-A441-7D426A9E0B97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4494111"/>
      </p:ext>
    </p:extLst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E8CAE6-951A-49BD-971E-D1CF57D6A258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107576"/>
      </p:ext>
    </p:extLst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C554B5E-3693-4F7B-9945-4D46714DF988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265380"/>
      </p:ext>
    </p:extLst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8FD595-6D3D-402C-A6FC-E8F5B499C4FE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407738"/>
      </p:ext>
    </p:extLst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F89E07F-B58A-4173-89ED-14A13BA4E319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1652268"/>
      </p:ext>
    </p:extLst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6D032F-BE43-4D94-A5DA-94B2293A1BA9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1934068"/>
      </p:ext>
    </p:extLst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E9462B7-D7CA-4FAA-A3BD-BE84FD2DD6B1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1576767"/>
      </p:ext>
    </p:extLst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3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4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2F2A8E6-21A5-4108-ABED-6C4F569B68AA}" type="slidenum">
              <a:rPr lang="ru-RU">
                <a:solidFill>
                  <a:srgbClr val="0000FF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5370399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AF3D63-4729-4547-A15D-9092BB68A27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536329"/>
      </p:ext>
    </p:extLst>
  </p:cSld>
  <p:clrMapOvr>
    <a:masterClrMapping/>
  </p:clrMapOvr>
  <p:transition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779151515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9713094"/>
      </p:ext>
    </p:extLst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658919"/>
      </p:ext>
    </p:extLst>
  </p:cSld>
  <p:clrMapOvr>
    <a:masterClrMapping/>
  </p:clrMapOvr>
  <p:transition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850648"/>
      </p:ext>
    </p:extLst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1106790"/>
      </p:ext>
    </p:extLst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61003687"/>
      </p:ext>
    </p:extLst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9571167"/>
      </p:ext>
    </p:extLst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2850677"/>
      </p:ext>
    </p:extLst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5974324"/>
      </p:ext>
    </p:extLst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2461636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A211221-B9CC-49BE-9A8B-8B48E05D562C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3841209"/>
      </p:ext>
    </p:extLst>
  </p:cSld>
  <p:clrMapOvr>
    <a:masterClrMapping/>
  </p:clrMapOvr>
  <p:transition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000598"/>
      </p:ext>
    </p:extLst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7462" y="821710"/>
            <a:ext cx="9360000" cy="298327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7" y="2057400"/>
            <a:ext cx="9360827" cy="1256112"/>
          </a:xfrm>
          <a:noFill/>
          <a:ln>
            <a:noFill/>
          </a:ln>
        </p:spPr>
        <p:txBody>
          <a:bodyPr/>
          <a:lstStyle>
            <a:lvl1pPr marL="146199" indent="-146199">
              <a:buClr>
                <a:schemeClr val="bg2"/>
              </a:buClr>
              <a:buSzPct val="100000"/>
              <a:buFont typeface="Arial" pitchFamily="34" charset="0"/>
              <a:buChar char="■"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 marL="526317" indent="-111403">
              <a:buClr>
                <a:schemeClr val="bg2"/>
              </a:buClr>
              <a:buFont typeface="Arial" pitchFamily="34" charset="0"/>
              <a:buChar char="­"/>
              <a:defRPr/>
            </a:lvl4pPr>
            <a:lvl5pPr marL="643275" indent="-111111">
              <a:buClr>
                <a:schemeClr val="bg2"/>
              </a:buClr>
              <a:buFont typeface="Arial" pitchFamily="34" charset="0"/>
              <a:buChar char="­"/>
              <a:defRPr/>
            </a:lvl5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70264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pic>
        <p:nvPicPr>
          <p:cNvPr id="3076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5723742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429043"/>
      </p:ext>
    </p:extLst>
  </p:cSld>
  <p:clrMapOvr>
    <a:masterClrMapping/>
  </p:clrMapOvr>
  <p:transition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331143"/>
      </p:ext>
    </p:extLst>
  </p:cSld>
  <p:clrMapOvr>
    <a:masterClrMapping/>
  </p:clrMapOvr>
  <p:transition/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372673"/>
      </p:ext>
    </p:extLst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4202429"/>
      </p:ext>
    </p:extLst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784315"/>
      </p:ext>
    </p:extLst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3175450"/>
      </p:ext>
    </p:extLst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0445601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BFFB0E2-C7EF-4E11-8BB5-E57BAA0FC2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366569"/>
      </p:ext>
    </p:extLst>
  </p:cSld>
  <p:clrMapOvr>
    <a:masterClrMapping/>
  </p:clrMapOvr>
  <p:transition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7333002"/>
      </p:ext>
    </p:extLst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5F4C144-FA45-4983-B864-46D2F3CCFEC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7594483"/>
      </p:ext>
    </p:extLst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968BE43-CDC8-4A1D-9202-20DC2537436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9121333"/>
      </p:ext>
    </p:extLst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TK TitleAndText 2012/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267462" y="821710"/>
            <a:ext cx="9360000" cy="298327"/>
          </a:xfrm>
          <a:prstGeom prst="rect">
            <a:avLst/>
          </a:prstGeom>
          <a:noFill/>
          <a:ln>
            <a:noFill/>
          </a:ln>
        </p:spPr>
        <p:txBody>
          <a:bodyPr rtlCol="0"/>
          <a:lstStyle>
            <a:lvl1pPr>
              <a:defRPr/>
            </a:lvl1pPr>
          </a:lstStyle>
          <a:p>
            <a:r>
              <a:rPr lang="en-US" dirty="0" smtClean="0"/>
              <a:t>Headline of maximum two lines her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265207" y="2057400"/>
            <a:ext cx="9360827" cy="1256112"/>
          </a:xfrm>
          <a:noFill/>
          <a:ln>
            <a:noFill/>
          </a:ln>
        </p:spPr>
        <p:txBody>
          <a:bodyPr/>
          <a:lstStyle>
            <a:lvl1pPr marL="146199" indent="-146199">
              <a:buClr>
                <a:schemeClr val="bg2"/>
              </a:buClr>
              <a:buSzPct val="100000"/>
              <a:buFont typeface="Arial" pitchFamily="34" charset="0"/>
              <a:buChar char="■"/>
              <a:defRPr/>
            </a:lvl1pPr>
            <a:lvl2pPr>
              <a:buClr>
                <a:schemeClr val="bg2"/>
              </a:buClr>
              <a:defRPr/>
            </a:lvl2pPr>
            <a:lvl3pPr>
              <a:buClr>
                <a:schemeClr val="bg2"/>
              </a:buClr>
              <a:defRPr/>
            </a:lvl3pPr>
            <a:lvl4pPr marL="526317" indent="-111403">
              <a:buClr>
                <a:schemeClr val="bg2"/>
              </a:buClr>
              <a:buFont typeface="Arial" pitchFamily="34" charset="0"/>
              <a:buChar char="­"/>
              <a:defRPr/>
            </a:lvl4pPr>
            <a:lvl5pPr marL="643275" indent="-111111">
              <a:buClr>
                <a:schemeClr val="bg2"/>
              </a:buClr>
              <a:buFont typeface="Arial" pitchFamily="34" charset="0"/>
              <a:buChar char="­"/>
              <a:defRPr/>
            </a:lvl5pPr>
          </a:lstStyle>
          <a:p>
            <a:pPr lvl="0"/>
            <a:r>
              <a:rPr lang="en-US" dirty="0" smtClean="0"/>
              <a:t>Text on first level here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61608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81742498"/>
      </p:ext>
    </p:extLst>
  </p:cSld>
  <p:clrMapOvr>
    <a:masterClrMapping/>
  </p:clrMapOvr>
  <p:transition>
    <p:fade/>
  </p:transition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C0C2A-0CE7-654E-B369-893DF415B4A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7728330"/>
      </p:ext>
    </p:extLst>
  </p:cSld>
  <p:clrMapOvr>
    <a:masterClrMapping/>
  </p:clrMapOvr>
  <p:transition/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D34CED-2824-D74B-9DFD-E7CC32085C2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2433744"/>
      </p:ext>
    </p:extLst>
  </p:cSld>
  <p:clrMapOvr>
    <a:masterClrMapping/>
  </p:clrMapOvr>
  <p:transition/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0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D35289-215D-744A-9923-A1CDF00380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4901492"/>
      </p:ext>
    </p:extLst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D71DCC-1440-2848-84C9-625F500DDFF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7000832"/>
      </p:ext>
    </p:extLst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9527CA-2ED7-724C-836C-C039287773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157685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4924D5-3CAD-4207-8021-549AA9F00CC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3983718"/>
      </p:ext>
    </p:extLst>
  </p:cSld>
  <p:clrMapOvr>
    <a:masterClrMapping/>
  </p:clrMapOvr>
  <p:transition/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51CAE-1BBC-B14D-A3A9-4A3565F54C9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0266308"/>
      </p:ext>
    </p:extLst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7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2F5DF9-765E-1948-8822-656AD6B0D62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869341"/>
      </p:ext>
    </p:extLst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6CD82-670E-2248-B087-3A2AA3DA55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6777965"/>
      </p:ext>
    </p:extLst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2C00D1-F9DD-5848-9FDF-8864E11AD6B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5018347"/>
      </p:ext>
    </p:extLst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3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6172CC-B4AB-E741-B2AE-495E1844833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9454011"/>
      </p:ext>
    </p:extLst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40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386" indent="0" algn="ctr">
              <a:buNone/>
              <a:defRPr/>
            </a:lvl2pPr>
            <a:lvl3pPr marL="742770" indent="0" algn="ctr">
              <a:buNone/>
              <a:defRPr/>
            </a:lvl3pPr>
            <a:lvl4pPr marL="1114156" indent="0" algn="ctr">
              <a:buNone/>
              <a:defRPr/>
            </a:lvl4pPr>
            <a:lvl5pPr marL="1485539" indent="0" algn="ctr">
              <a:buNone/>
              <a:defRPr/>
            </a:lvl5pPr>
            <a:lvl6pPr marL="1856925" indent="0" algn="ctr">
              <a:buNone/>
              <a:defRPr/>
            </a:lvl6pPr>
            <a:lvl7pPr marL="2228309" indent="0" algn="ctr">
              <a:buNone/>
              <a:defRPr/>
            </a:lvl7pPr>
            <a:lvl8pPr marL="2599695" indent="0" algn="ctr">
              <a:buNone/>
              <a:defRPr/>
            </a:lvl8pPr>
            <a:lvl9pPr marL="297107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E4F5A642-22D0-4D03-B0C8-8A5EDAEB108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14550843"/>
      </p:ext>
    </p:extLst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777C0F22-E184-4F32-9774-2966E02A4F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21123607"/>
      </p:ext>
    </p:extLst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386" indent="0">
              <a:buNone/>
              <a:defRPr sz="1462"/>
            </a:lvl2pPr>
            <a:lvl3pPr marL="742770" indent="0">
              <a:buNone/>
              <a:defRPr sz="1300"/>
            </a:lvl3pPr>
            <a:lvl4pPr marL="1114156" indent="0">
              <a:buNone/>
              <a:defRPr sz="1137"/>
            </a:lvl4pPr>
            <a:lvl5pPr marL="1485539" indent="0">
              <a:buNone/>
              <a:defRPr sz="1137"/>
            </a:lvl5pPr>
            <a:lvl6pPr marL="1856925" indent="0">
              <a:buNone/>
              <a:defRPr sz="1137"/>
            </a:lvl6pPr>
            <a:lvl7pPr marL="2228309" indent="0">
              <a:buNone/>
              <a:defRPr sz="1137"/>
            </a:lvl7pPr>
            <a:lvl8pPr marL="2599695" indent="0">
              <a:buNone/>
              <a:defRPr sz="1137"/>
            </a:lvl8pPr>
            <a:lvl9pPr marL="297107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6DA1484-C2FF-4285-8DE4-7F8C1E93A49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3416362"/>
      </p:ext>
    </p:extLst>
  </p:cSld>
  <p:clrMapOvr>
    <a:masterClrMapping/>
  </p:clrMapOvr>
  <p:transition/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7" y="1125540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4" y="1125540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AB5ABF2-DF24-49F4-A4CE-0FF34BD24E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03546839"/>
      </p:ext>
    </p:extLst>
  </p:cSld>
  <p:clrMapOvr>
    <a:masterClrMapping/>
  </p:clrMapOvr>
  <p:transition/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86" indent="0">
              <a:buNone/>
              <a:defRPr sz="1625" b="1"/>
            </a:lvl2pPr>
            <a:lvl3pPr marL="742770" indent="0">
              <a:buNone/>
              <a:defRPr sz="1462" b="1"/>
            </a:lvl3pPr>
            <a:lvl4pPr marL="1114156" indent="0">
              <a:buNone/>
              <a:defRPr sz="1300" b="1"/>
            </a:lvl4pPr>
            <a:lvl5pPr marL="1485539" indent="0">
              <a:buNone/>
              <a:defRPr sz="1300" b="1"/>
            </a:lvl5pPr>
            <a:lvl6pPr marL="1856925" indent="0">
              <a:buNone/>
              <a:defRPr sz="1300" b="1"/>
            </a:lvl6pPr>
            <a:lvl7pPr marL="2228309" indent="0">
              <a:buNone/>
              <a:defRPr sz="1300" b="1"/>
            </a:lvl7pPr>
            <a:lvl8pPr marL="2599695" indent="0">
              <a:buNone/>
              <a:defRPr sz="1300" b="1"/>
            </a:lvl8pPr>
            <a:lvl9pPr marL="297107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86" indent="0">
              <a:buNone/>
              <a:defRPr sz="1625" b="1"/>
            </a:lvl2pPr>
            <a:lvl3pPr marL="742770" indent="0">
              <a:buNone/>
              <a:defRPr sz="1462" b="1"/>
            </a:lvl3pPr>
            <a:lvl4pPr marL="1114156" indent="0">
              <a:buNone/>
              <a:defRPr sz="1300" b="1"/>
            </a:lvl4pPr>
            <a:lvl5pPr marL="1485539" indent="0">
              <a:buNone/>
              <a:defRPr sz="1300" b="1"/>
            </a:lvl5pPr>
            <a:lvl6pPr marL="1856925" indent="0">
              <a:buNone/>
              <a:defRPr sz="1300" b="1"/>
            </a:lvl6pPr>
            <a:lvl7pPr marL="2228309" indent="0">
              <a:buNone/>
              <a:defRPr sz="1300" b="1"/>
            </a:lvl7pPr>
            <a:lvl8pPr marL="2599695" indent="0">
              <a:buNone/>
              <a:defRPr sz="1300" b="1"/>
            </a:lvl8pPr>
            <a:lvl9pPr marL="297107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7E2260E-1FCA-456A-B2E7-37F77B096A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20453031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060C4-2C8B-446D-B7D5-CA967F8CB115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260354"/>
      </p:ext>
    </p:extLst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7D6CD456-4724-4FF1-99F5-39547D94D8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6861826"/>
      </p:ext>
    </p:extLst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32A0E6E6-2119-4D0B-81F6-257F525AB9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4051734"/>
      </p:ext>
    </p:extLst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6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386" indent="0">
              <a:buNone/>
              <a:defRPr sz="975"/>
            </a:lvl2pPr>
            <a:lvl3pPr marL="742770" indent="0">
              <a:buNone/>
              <a:defRPr sz="812"/>
            </a:lvl3pPr>
            <a:lvl4pPr marL="1114156" indent="0">
              <a:buNone/>
              <a:defRPr sz="731"/>
            </a:lvl4pPr>
            <a:lvl5pPr marL="1485539" indent="0">
              <a:buNone/>
              <a:defRPr sz="731"/>
            </a:lvl5pPr>
            <a:lvl6pPr marL="1856925" indent="0">
              <a:buNone/>
              <a:defRPr sz="731"/>
            </a:lvl6pPr>
            <a:lvl7pPr marL="2228309" indent="0">
              <a:buNone/>
              <a:defRPr sz="731"/>
            </a:lvl7pPr>
            <a:lvl8pPr marL="2599695" indent="0">
              <a:buNone/>
              <a:defRPr sz="731"/>
            </a:lvl8pPr>
            <a:lvl9pPr marL="297107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BA2A4BE6-0F53-4BC2-AD50-99F968B54B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51742398"/>
      </p:ext>
    </p:extLst>
  </p:cSld>
  <p:clrMapOvr>
    <a:masterClrMapping/>
  </p:clrMapOvr>
  <p:transition/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386" indent="0">
              <a:buNone/>
              <a:defRPr sz="2275"/>
            </a:lvl2pPr>
            <a:lvl3pPr marL="742770" indent="0">
              <a:buNone/>
              <a:defRPr sz="1950"/>
            </a:lvl3pPr>
            <a:lvl4pPr marL="1114156" indent="0">
              <a:buNone/>
              <a:defRPr sz="1625"/>
            </a:lvl4pPr>
            <a:lvl5pPr marL="1485539" indent="0">
              <a:buNone/>
              <a:defRPr sz="1625"/>
            </a:lvl5pPr>
            <a:lvl6pPr marL="1856925" indent="0">
              <a:buNone/>
              <a:defRPr sz="1625"/>
            </a:lvl6pPr>
            <a:lvl7pPr marL="2228309" indent="0">
              <a:buNone/>
              <a:defRPr sz="1625"/>
            </a:lvl7pPr>
            <a:lvl8pPr marL="2599695" indent="0">
              <a:buNone/>
              <a:defRPr sz="1625"/>
            </a:lvl8pPr>
            <a:lvl9pPr marL="2971079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386" indent="0">
              <a:buNone/>
              <a:defRPr sz="975"/>
            </a:lvl2pPr>
            <a:lvl3pPr marL="742770" indent="0">
              <a:buNone/>
              <a:defRPr sz="812"/>
            </a:lvl3pPr>
            <a:lvl4pPr marL="1114156" indent="0">
              <a:buNone/>
              <a:defRPr sz="731"/>
            </a:lvl4pPr>
            <a:lvl5pPr marL="1485539" indent="0">
              <a:buNone/>
              <a:defRPr sz="731"/>
            </a:lvl5pPr>
            <a:lvl6pPr marL="1856925" indent="0">
              <a:buNone/>
              <a:defRPr sz="731"/>
            </a:lvl6pPr>
            <a:lvl7pPr marL="2228309" indent="0">
              <a:buNone/>
              <a:defRPr sz="731"/>
            </a:lvl7pPr>
            <a:lvl8pPr marL="2599695" indent="0">
              <a:buNone/>
              <a:defRPr sz="731"/>
            </a:lvl8pPr>
            <a:lvl9pPr marL="297107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01BAB150-0299-4586-A4BD-DA5199D433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31253177"/>
      </p:ext>
    </p:extLst>
  </p:cSld>
  <p:clrMapOvr>
    <a:masterClrMapping/>
  </p:clrMapOvr>
  <p:transition/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CEBA19AF-89AF-4925-B7D9-5011120E420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8409303"/>
      </p:ext>
    </p:extLst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7" y="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27784745-391A-49B2-85E8-E222D2DB34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18071785"/>
      </p:ext>
    </p:extLst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40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386" indent="0" algn="ctr">
              <a:buNone/>
              <a:defRPr/>
            </a:lvl2pPr>
            <a:lvl3pPr marL="742770" indent="0" algn="ctr">
              <a:buNone/>
              <a:defRPr/>
            </a:lvl3pPr>
            <a:lvl4pPr marL="1114156" indent="0" algn="ctr">
              <a:buNone/>
              <a:defRPr/>
            </a:lvl4pPr>
            <a:lvl5pPr marL="1485539" indent="0" algn="ctr">
              <a:buNone/>
              <a:defRPr/>
            </a:lvl5pPr>
            <a:lvl6pPr marL="1856925" indent="0" algn="ctr">
              <a:buNone/>
              <a:defRPr/>
            </a:lvl6pPr>
            <a:lvl7pPr marL="2228309" indent="0" algn="ctr">
              <a:buNone/>
              <a:defRPr/>
            </a:lvl7pPr>
            <a:lvl8pPr marL="2599695" indent="0" algn="ctr">
              <a:buNone/>
              <a:defRPr/>
            </a:lvl8pPr>
            <a:lvl9pPr marL="297107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E4F5A642-22D0-4D03-B0C8-8A5EDAEB108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09272576"/>
      </p:ext>
    </p:extLst>
  </p:cSld>
  <p:clrMapOvr>
    <a:masterClrMapping/>
  </p:clrMapOvr>
  <p:transition/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777C0F22-E184-4F32-9774-2966E02A4FE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29830022"/>
      </p:ext>
    </p:extLst>
  </p:cSld>
  <p:clrMapOvr>
    <a:masterClrMapping/>
  </p:clrMapOvr>
  <p:transition/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386" indent="0">
              <a:buNone/>
              <a:defRPr sz="1462"/>
            </a:lvl2pPr>
            <a:lvl3pPr marL="742770" indent="0">
              <a:buNone/>
              <a:defRPr sz="1300"/>
            </a:lvl3pPr>
            <a:lvl4pPr marL="1114156" indent="0">
              <a:buNone/>
              <a:defRPr sz="1137"/>
            </a:lvl4pPr>
            <a:lvl5pPr marL="1485539" indent="0">
              <a:buNone/>
              <a:defRPr sz="1137"/>
            </a:lvl5pPr>
            <a:lvl6pPr marL="1856925" indent="0">
              <a:buNone/>
              <a:defRPr sz="1137"/>
            </a:lvl6pPr>
            <a:lvl7pPr marL="2228309" indent="0">
              <a:buNone/>
              <a:defRPr sz="1137"/>
            </a:lvl7pPr>
            <a:lvl8pPr marL="2599695" indent="0">
              <a:buNone/>
              <a:defRPr sz="1137"/>
            </a:lvl8pPr>
            <a:lvl9pPr marL="297107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6DA1484-C2FF-4285-8DE4-7F8C1E93A49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7520746"/>
      </p:ext>
    </p:extLst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7" y="1125540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4" y="1125540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AB5ABF2-DF24-49F4-A4CE-0FF34BD24EB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5192038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58511F-4FF0-4561-891C-7BBC6792217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6310302"/>
      </p:ext>
    </p:extLst>
  </p:cSld>
  <p:clrMapOvr>
    <a:masterClrMapping/>
  </p:clrMapOvr>
  <p:transition/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0D4E25-3010-4F81-BDB2-823F40AB3FF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1837105"/>
      </p:ext>
    </p:extLst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86" indent="0">
              <a:buNone/>
              <a:defRPr sz="1625" b="1"/>
            </a:lvl2pPr>
            <a:lvl3pPr marL="742770" indent="0">
              <a:buNone/>
              <a:defRPr sz="1462" b="1"/>
            </a:lvl3pPr>
            <a:lvl4pPr marL="1114156" indent="0">
              <a:buNone/>
              <a:defRPr sz="1300" b="1"/>
            </a:lvl4pPr>
            <a:lvl5pPr marL="1485539" indent="0">
              <a:buNone/>
              <a:defRPr sz="1300" b="1"/>
            </a:lvl5pPr>
            <a:lvl6pPr marL="1856925" indent="0">
              <a:buNone/>
              <a:defRPr sz="1300" b="1"/>
            </a:lvl6pPr>
            <a:lvl7pPr marL="2228309" indent="0">
              <a:buNone/>
              <a:defRPr sz="1300" b="1"/>
            </a:lvl7pPr>
            <a:lvl8pPr marL="2599695" indent="0">
              <a:buNone/>
              <a:defRPr sz="1300" b="1"/>
            </a:lvl8pPr>
            <a:lvl9pPr marL="297107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86" indent="0">
              <a:buNone/>
              <a:defRPr sz="1625" b="1"/>
            </a:lvl2pPr>
            <a:lvl3pPr marL="742770" indent="0">
              <a:buNone/>
              <a:defRPr sz="1462" b="1"/>
            </a:lvl3pPr>
            <a:lvl4pPr marL="1114156" indent="0">
              <a:buNone/>
              <a:defRPr sz="1300" b="1"/>
            </a:lvl4pPr>
            <a:lvl5pPr marL="1485539" indent="0">
              <a:buNone/>
              <a:defRPr sz="1300" b="1"/>
            </a:lvl5pPr>
            <a:lvl6pPr marL="1856925" indent="0">
              <a:buNone/>
              <a:defRPr sz="1300" b="1"/>
            </a:lvl6pPr>
            <a:lvl7pPr marL="2228309" indent="0">
              <a:buNone/>
              <a:defRPr sz="1300" b="1"/>
            </a:lvl7pPr>
            <a:lvl8pPr marL="2599695" indent="0">
              <a:buNone/>
              <a:defRPr sz="1300" b="1"/>
            </a:lvl8pPr>
            <a:lvl9pPr marL="297107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47E2260E-1FCA-456A-B2E7-37F77B096AE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02071680"/>
      </p:ext>
    </p:extLst>
  </p:cSld>
  <p:clrMapOvr>
    <a:masterClrMapping/>
  </p:clrMapOvr>
  <p:transition/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7D6CD456-4724-4FF1-99F5-39547D94D86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469755"/>
      </p:ext>
    </p:extLst>
  </p:cSld>
  <p:clrMapOvr>
    <a:masterClrMapping/>
  </p:clrMapOvr>
  <p:transition/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32A0E6E6-2119-4D0B-81F6-257F525AB946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11245993"/>
      </p:ext>
    </p:extLst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6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386" indent="0">
              <a:buNone/>
              <a:defRPr sz="975"/>
            </a:lvl2pPr>
            <a:lvl3pPr marL="742770" indent="0">
              <a:buNone/>
              <a:defRPr sz="812"/>
            </a:lvl3pPr>
            <a:lvl4pPr marL="1114156" indent="0">
              <a:buNone/>
              <a:defRPr sz="731"/>
            </a:lvl4pPr>
            <a:lvl5pPr marL="1485539" indent="0">
              <a:buNone/>
              <a:defRPr sz="731"/>
            </a:lvl5pPr>
            <a:lvl6pPr marL="1856925" indent="0">
              <a:buNone/>
              <a:defRPr sz="731"/>
            </a:lvl6pPr>
            <a:lvl7pPr marL="2228309" indent="0">
              <a:buNone/>
              <a:defRPr sz="731"/>
            </a:lvl7pPr>
            <a:lvl8pPr marL="2599695" indent="0">
              <a:buNone/>
              <a:defRPr sz="731"/>
            </a:lvl8pPr>
            <a:lvl9pPr marL="297107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BA2A4BE6-0F53-4BC2-AD50-99F968B54B9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65569202"/>
      </p:ext>
    </p:extLst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386" indent="0">
              <a:buNone/>
              <a:defRPr sz="2275"/>
            </a:lvl2pPr>
            <a:lvl3pPr marL="742770" indent="0">
              <a:buNone/>
              <a:defRPr sz="1950"/>
            </a:lvl3pPr>
            <a:lvl4pPr marL="1114156" indent="0">
              <a:buNone/>
              <a:defRPr sz="1625"/>
            </a:lvl4pPr>
            <a:lvl5pPr marL="1485539" indent="0">
              <a:buNone/>
              <a:defRPr sz="1625"/>
            </a:lvl5pPr>
            <a:lvl6pPr marL="1856925" indent="0">
              <a:buNone/>
              <a:defRPr sz="1625"/>
            </a:lvl6pPr>
            <a:lvl7pPr marL="2228309" indent="0">
              <a:buNone/>
              <a:defRPr sz="1625"/>
            </a:lvl7pPr>
            <a:lvl8pPr marL="2599695" indent="0">
              <a:buNone/>
              <a:defRPr sz="1625"/>
            </a:lvl8pPr>
            <a:lvl9pPr marL="2971079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386" indent="0">
              <a:buNone/>
              <a:defRPr sz="975"/>
            </a:lvl2pPr>
            <a:lvl3pPr marL="742770" indent="0">
              <a:buNone/>
              <a:defRPr sz="812"/>
            </a:lvl3pPr>
            <a:lvl4pPr marL="1114156" indent="0">
              <a:buNone/>
              <a:defRPr sz="731"/>
            </a:lvl4pPr>
            <a:lvl5pPr marL="1485539" indent="0">
              <a:buNone/>
              <a:defRPr sz="731"/>
            </a:lvl5pPr>
            <a:lvl6pPr marL="1856925" indent="0">
              <a:buNone/>
              <a:defRPr sz="731"/>
            </a:lvl6pPr>
            <a:lvl7pPr marL="2228309" indent="0">
              <a:buNone/>
              <a:defRPr sz="731"/>
            </a:lvl7pPr>
            <a:lvl8pPr marL="2599695" indent="0">
              <a:buNone/>
              <a:defRPr sz="731"/>
            </a:lvl8pPr>
            <a:lvl9pPr marL="297107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01BAB150-0299-4586-A4BD-DA5199D4330A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48782750"/>
      </p:ext>
    </p:extLst>
  </p:cSld>
  <p:clrMapOvr>
    <a:masterClrMapping/>
  </p:clrMapOvr>
  <p:transition/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CEBA19AF-89AF-4925-B7D9-5011120E420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33323194"/>
      </p:ext>
    </p:extLst>
  </p:cSld>
  <p:clrMapOvr>
    <a:masterClrMapping/>
  </p:clrMapOvr>
  <p:transition/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7" y="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fontAlgn="auto">
              <a:spcBef>
                <a:spcPts val="0"/>
              </a:spcBef>
              <a:defRPr/>
            </a:lvl1pPr>
          </a:lstStyle>
          <a:p>
            <a:pPr>
              <a:defRPr/>
            </a:pPr>
            <a:fld id="{27784745-391A-49B2-85E8-E222D2DB341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556410080"/>
      </p:ext>
    </p:extLst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035" indent="0" algn="ctr">
              <a:buNone/>
              <a:defRPr/>
            </a:lvl2pPr>
            <a:lvl3pPr marL="742062" indent="0" algn="ctr">
              <a:buNone/>
              <a:defRPr/>
            </a:lvl3pPr>
            <a:lvl4pPr marL="1113093" indent="0" algn="ctr">
              <a:buNone/>
              <a:defRPr/>
            </a:lvl4pPr>
            <a:lvl5pPr marL="1484123" indent="0" algn="ctr">
              <a:buNone/>
              <a:defRPr/>
            </a:lvl5pPr>
            <a:lvl6pPr marL="1855154" indent="0" algn="ctr">
              <a:buNone/>
              <a:defRPr/>
            </a:lvl6pPr>
            <a:lvl7pPr marL="2226184" indent="0" algn="ctr">
              <a:buNone/>
              <a:defRPr/>
            </a:lvl7pPr>
            <a:lvl8pPr marL="2597215" indent="0" algn="ctr">
              <a:buNone/>
              <a:defRPr/>
            </a:lvl8pPr>
            <a:lvl9pPr marL="296824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494F02C-FF2A-4949-8633-9F0004B868D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9806185"/>
      </p:ext>
    </p:extLst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CCED63-6E06-424C-96FC-03FF22C32C8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547562"/>
      </p:ext>
    </p:extLst>
  </p:cSld>
  <p:clrMapOvr>
    <a:masterClrMapping/>
  </p:clrMapOvr>
  <p:transition/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035" indent="0">
              <a:buNone/>
              <a:defRPr sz="1462"/>
            </a:lvl2pPr>
            <a:lvl3pPr marL="742062" indent="0">
              <a:buNone/>
              <a:defRPr sz="1300"/>
            </a:lvl3pPr>
            <a:lvl4pPr marL="1113093" indent="0">
              <a:buNone/>
              <a:defRPr sz="1137"/>
            </a:lvl4pPr>
            <a:lvl5pPr marL="1484123" indent="0">
              <a:buNone/>
              <a:defRPr sz="1137"/>
            </a:lvl5pPr>
            <a:lvl6pPr marL="1855154" indent="0">
              <a:buNone/>
              <a:defRPr sz="1137"/>
            </a:lvl6pPr>
            <a:lvl7pPr marL="2226184" indent="0">
              <a:buNone/>
              <a:defRPr sz="1137"/>
            </a:lvl7pPr>
            <a:lvl8pPr marL="2597215" indent="0">
              <a:buNone/>
              <a:defRPr sz="1137"/>
            </a:lvl8pPr>
            <a:lvl9pPr marL="2968246" indent="0">
              <a:buNone/>
              <a:defRPr sz="113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FE86F27-9C58-481C-AB97-CFF082FB52C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024552"/>
      </p:ext>
    </p:extLst>
  </p:cSld>
  <p:clrMapOvr>
    <a:masterClrMapping/>
  </p:clrMapOvr>
  <p:transition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6DC8AA5-6B79-4CF8-BEFB-E72954648A5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754127"/>
      </p:ext>
    </p:extLst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733B90-9ACA-46B8-A06C-7EBDD331E03F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7911894"/>
      </p:ext>
    </p:extLst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BA4967-E6A2-47AC-976A-8ADD97C9178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9580439"/>
      </p:ext>
    </p:extLst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186361-7488-4885-8354-DC5130F22B03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6710506"/>
      </p:ext>
    </p:extLst>
  </p:cSld>
  <p:clrMapOvr>
    <a:masterClrMapping/>
  </p:clrMapOvr>
  <p:transition/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E03B01-C523-4828-ADC2-5982B8AFB601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6876800"/>
      </p:ext>
    </p:extLst>
  </p:cSld>
  <p:clrMapOvr>
    <a:masterClrMapping/>
  </p:clrMapOvr>
  <p:transition/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6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0598678-2D38-4B9C-8F1B-125324C1BDC7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0889040"/>
      </p:ext>
    </p:extLst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035" indent="0">
              <a:buNone/>
              <a:defRPr sz="2275"/>
            </a:lvl2pPr>
            <a:lvl3pPr marL="742062" indent="0">
              <a:buNone/>
              <a:defRPr sz="1950"/>
            </a:lvl3pPr>
            <a:lvl4pPr marL="1113093" indent="0">
              <a:buNone/>
              <a:defRPr sz="1625"/>
            </a:lvl4pPr>
            <a:lvl5pPr marL="1484123" indent="0">
              <a:buNone/>
              <a:defRPr sz="1625"/>
            </a:lvl5pPr>
            <a:lvl6pPr marL="1855154" indent="0">
              <a:buNone/>
              <a:defRPr sz="1625"/>
            </a:lvl6pPr>
            <a:lvl7pPr marL="2226184" indent="0">
              <a:buNone/>
              <a:defRPr sz="1625"/>
            </a:lvl7pPr>
            <a:lvl8pPr marL="2597215" indent="0">
              <a:buNone/>
              <a:defRPr sz="1625"/>
            </a:lvl8pPr>
            <a:lvl9pPr marL="2968246" indent="0">
              <a:buNone/>
              <a:defRPr sz="162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8EF4E5-45F3-4BF3-92C0-575B185438E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5870290"/>
      </p:ext>
    </p:extLst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E94620-5E59-491E-9E1C-15A978A7278E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1499584"/>
      </p:ext>
    </p:extLst>
  </p:cSld>
  <p:clrMapOvr>
    <a:masterClrMapping/>
  </p:clrMapOvr>
  <p:transition/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11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3" y="11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67FEF3F-D6E6-446E-BD9E-43131C90197D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0140982"/>
      </p:ext>
    </p:extLst>
  </p:cSld>
  <p:clrMapOvr>
    <a:masterClrMapping/>
  </p:clrMapOvr>
  <p:transition/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B6647AB-DD01-424F-B042-BC1725177412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7232393"/>
      </p:ext>
    </p:extLst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21140F1-630F-4FBF-A0DD-9D789C6D4A0C}" type="slidenum">
              <a:rPr lang="ru-RU" alt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1722288"/>
      </p:ext>
    </p:extLst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4DA6200-36C4-4F15-9864-061D1CC6530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600056"/>
      </p:ext>
    </p:extLst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035" indent="0" algn="ctr">
              <a:buNone/>
              <a:defRPr/>
            </a:lvl2pPr>
            <a:lvl3pPr marL="742062" indent="0" algn="ctr">
              <a:buNone/>
              <a:defRPr/>
            </a:lvl3pPr>
            <a:lvl4pPr marL="1113093" indent="0" algn="ctr">
              <a:buNone/>
              <a:defRPr/>
            </a:lvl4pPr>
            <a:lvl5pPr marL="1484123" indent="0" algn="ctr">
              <a:buNone/>
              <a:defRPr/>
            </a:lvl5pPr>
            <a:lvl6pPr marL="1855154" indent="0" algn="ctr">
              <a:buNone/>
              <a:defRPr/>
            </a:lvl6pPr>
            <a:lvl7pPr marL="2226184" indent="0" algn="ctr">
              <a:buNone/>
              <a:defRPr/>
            </a:lvl7pPr>
            <a:lvl8pPr marL="2597215" indent="0" algn="ctr">
              <a:buNone/>
              <a:defRPr/>
            </a:lvl8pPr>
            <a:lvl9pPr marL="296824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7D48D6-DFEF-4F77-A79F-D6295719432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713915"/>
      </p:ext>
    </p:extLst>
  </p:cSld>
  <p:clrMapOvr>
    <a:masterClrMapping/>
  </p:clrMapOvr>
  <p:transition/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74B0FF7-F65E-46B9-B856-2641EB7E900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9381242"/>
      </p:ext>
    </p:extLst>
  </p:cSld>
  <p:clrMapOvr>
    <a:masterClrMapping/>
  </p:clrMapOvr>
  <p:transition/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035" indent="0">
              <a:buNone/>
              <a:defRPr sz="1462"/>
            </a:lvl2pPr>
            <a:lvl3pPr marL="742062" indent="0">
              <a:buNone/>
              <a:defRPr sz="1300"/>
            </a:lvl3pPr>
            <a:lvl4pPr marL="1113093" indent="0">
              <a:buNone/>
              <a:defRPr sz="1137"/>
            </a:lvl4pPr>
            <a:lvl5pPr marL="1484123" indent="0">
              <a:buNone/>
              <a:defRPr sz="1137"/>
            </a:lvl5pPr>
            <a:lvl6pPr marL="1855154" indent="0">
              <a:buNone/>
              <a:defRPr sz="1137"/>
            </a:lvl6pPr>
            <a:lvl7pPr marL="2226184" indent="0">
              <a:buNone/>
              <a:defRPr sz="1137"/>
            </a:lvl7pPr>
            <a:lvl8pPr marL="2597215" indent="0">
              <a:buNone/>
              <a:defRPr sz="1137"/>
            </a:lvl8pPr>
            <a:lvl9pPr marL="2968246" indent="0">
              <a:buNone/>
              <a:defRPr sz="113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6BABCC9-0811-46E7-B413-39B0A9A48CA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0118995"/>
      </p:ext>
    </p:extLst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21F35DC-0F88-405C-8AD7-E0E34E81454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0134457"/>
      </p:ext>
    </p:extLst>
  </p:cSld>
  <p:clrMapOvr>
    <a:masterClrMapping/>
  </p:clrMapOvr>
  <p:transition/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767BA3-95C1-4DC5-83A0-6C3A6AE6AEC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7034477"/>
      </p:ext>
    </p:extLst>
  </p:cSld>
  <p:clrMapOvr>
    <a:masterClrMapping/>
  </p:clrMapOvr>
  <p:transition/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17E8F8B-0BF3-4166-8D5B-B100BE97949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3392576"/>
      </p:ext>
    </p:extLst>
  </p:cSld>
  <p:clrMapOvr>
    <a:masterClrMapping/>
  </p:clrMapOvr>
  <p:transition/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A684A0-A32B-41FE-A278-7A5D27758AB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60690"/>
      </p:ext>
    </p:extLst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6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7A48A3-2C58-49E3-A389-3F7025931F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5952309"/>
      </p:ext>
    </p:extLst>
  </p:cSld>
  <p:clrMapOvr>
    <a:masterClrMapping/>
  </p:clrMapOvr>
  <p:transition/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035" indent="0">
              <a:buNone/>
              <a:defRPr sz="2275"/>
            </a:lvl2pPr>
            <a:lvl3pPr marL="742062" indent="0">
              <a:buNone/>
              <a:defRPr sz="1950"/>
            </a:lvl3pPr>
            <a:lvl4pPr marL="1113093" indent="0">
              <a:buNone/>
              <a:defRPr sz="1625"/>
            </a:lvl4pPr>
            <a:lvl5pPr marL="1484123" indent="0">
              <a:buNone/>
              <a:defRPr sz="1625"/>
            </a:lvl5pPr>
            <a:lvl6pPr marL="1855154" indent="0">
              <a:buNone/>
              <a:defRPr sz="1625"/>
            </a:lvl6pPr>
            <a:lvl7pPr marL="2226184" indent="0">
              <a:buNone/>
              <a:defRPr sz="1625"/>
            </a:lvl7pPr>
            <a:lvl8pPr marL="2597215" indent="0">
              <a:buNone/>
              <a:defRPr sz="1625"/>
            </a:lvl8pPr>
            <a:lvl9pPr marL="2968246" indent="0">
              <a:buNone/>
              <a:defRPr sz="162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5F6C54-1221-45D4-9512-6DDC19D47EF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836869"/>
      </p:ext>
    </p:extLst>
  </p:cSld>
  <p:clrMapOvr>
    <a:masterClrMapping/>
  </p:clrMapOvr>
  <p:transition/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CF6D4A-639A-4ABF-B276-F56089DE35A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0244714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87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425" indent="0" algn="ctr">
              <a:buNone/>
              <a:defRPr/>
            </a:lvl2pPr>
            <a:lvl3pPr marL="742848" indent="0" algn="ctr">
              <a:buNone/>
              <a:defRPr/>
            </a:lvl3pPr>
            <a:lvl4pPr marL="1114273" indent="0" algn="ctr">
              <a:buNone/>
              <a:defRPr/>
            </a:lvl4pPr>
            <a:lvl5pPr marL="1485697" indent="0" algn="ctr">
              <a:buNone/>
              <a:defRPr/>
            </a:lvl5pPr>
            <a:lvl6pPr marL="1857122" indent="0" algn="ctr">
              <a:buNone/>
              <a:defRPr/>
            </a:lvl6pPr>
            <a:lvl7pPr marL="2228545" indent="0" algn="ctr">
              <a:buNone/>
              <a:defRPr/>
            </a:lvl7pPr>
            <a:lvl8pPr marL="2599970" indent="0" algn="ctr">
              <a:buNone/>
              <a:defRPr/>
            </a:lvl8pPr>
            <a:lvl9pPr marL="2971393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5E393-3239-4954-8F61-97F412A3F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8761597"/>
      </p:ext>
    </p:extLst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11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3" y="11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F5BC2AE-6AAE-4F09-95AE-35AA2F4CCB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7273078"/>
      </p:ext>
    </p:extLst>
  </p:cSld>
  <p:clrMapOvr>
    <a:masterClrMapping/>
  </p:clrMapOvr>
  <p:transition/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1EFA68E-C3B0-436E-9D36-6DD0F385569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6951349"/>
      </p:ext>
    </p:extLst>
  </p:cSld>
  <p:clrMapOvr>
    <a:masterClrMapping/>
  </p:clrMapOvr>
  <p:transition/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D4AE638-768F-49C2-BC38-B6AC7C48B48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424985"/>
      </p:ext>
    </p:extLst>
  </p:cSld>
  <p:clrMapOvr>
    <a:masterClrMapping/>
  </p:clrMapOvr>
  <p:transition/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035" indent="0" algn="ctr">
              <a:buNone/>
              <a:defRPr/>
            </a:lvl2pPr>
            <a:lvl3pPr marL="742062" indent="0" algn="ctr">
              <a:buNone/>
              <a:defRPr/>
            </a:lvl3pPr>
            <a:lvl4pPr marL="1113093" indent="0" algn="ctr">
              <a:buNone/>
              <a:defRPr/>
            </a:lvl4pPr>
            <a:lvl5pPr marL="1484123" indent="0" algn="ctr">
              <a:buNone/>
              <a:defRPr/>
            </a:lvl5pPr>
            <a:lvl6pPr marL="1855154" indent="0" algn="ctr">
              <a:buNone/>
              <a:defRPr/>
            </a:lvl6pPr>
            <a:lvl7pPr marL="2226184" indent="0" algn="ctr">
              <a:buNone/>
              <a:defRPr/>
            </a:lvl7pPr>
            <a:lvl8pPr marL="2597215" indent="0" algn="ctr">
              <a:buNone/>
              <a:defRPr/>
            </a:lvl8pPr>
            <a:lvl9pPr marL="296824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A89DA1-13EB-4320-A3A5-A2A2655BA65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5387014"/>
      </p:ext>
    </p:extLst>
  </p:cSld>
  <p:clrMapOvr>
    <a:masterClrMapping/>
  </p:clrMapOvr>
  <p:transition/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753816-6012-4E45-BA69-0E9661ACE74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719025"/>
      </p:ext>
    </p:extLst>
  </p:cSld>
  <p:clrMapOvr>
    <a:masterClrMapping/>
  </p:clrMapOvr>
  <p:transition/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035" indent="0">
              <a:buNone/>
              <a:defRPr sz="1462"/>
            </a:lvl2pPr>
            <a:lvl3pPr marL="742062" indent="0">
              <a:buNone/>
              <a:defRPr sz="1300"/>
            </a:lvl3pPr>
            <a:lvl4pPr marL="1113093" indent="0">
              <a:buNone/>
              <a:defRPr sz="1137"/>
            </a:lvl4pPr>
            <a:lvl5pPr marL="1484123" indent="0">
              <a:buNone/>
              <a:defRPr sz="1137"/>
            </a:lvl5pPr>
            <a:lvl6pPr marL="1855154" indent="0">
              <a:buNone/>
              <a:defRPr sz="1137"/>
            </a:lvl6pPr>
            <a:lvl7pPr marL="2226184" indent="0">
              <a:buNone/>
              <a:defRPr sz="1137"/>
            </a:lvl7pPr>
            <a:lvl8pPr marL="2597215" indent="0">
              <a:buNone/>
              <a:defRPr sz="1137"/>
            </a:lvl8pPr>
            <a:lvl9pPr marL="2968246" indent="0">
              <a:buNone/>
              <a:defRPr sz="113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5FA4CC-C17B-4489-A4FC-389EDE04B5F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202060"/>
      </p:ext>
    </p:extLst>
  </p:cSld>
  <p:clrMapOvr>
    <a:masterClrMapping/>
  </p:clrMapOvr>
  <p:transition/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07EF4E-E15F-463C-94B1-ADDABB13ABB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9938449"/>
      </p:ext>
    </p:extLst>
  </p:cSld>
  <p:clrMapOvr>
    <a:masterClrMapping/>
  </p:clrMapOvr>
  <p:transition/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875D40-C655-4A40-BAAC-0C626D64022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2819829"/>
      </p:ext>
    </p:extLst>
  </p:cSld>
  <p:clrMapOvr>
    <a:masterClrMapping/>
  </p:clrMapOvr>
  <p:transition/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1C3682-37CC-4FDA-90AB-9353479D870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8195918"/>
      </p:ext>
    </p:extLst>
  </p:cSld>
  <p:clrMapOvr>
    <a:masterClrMapping/>
  </p:clrMapOvr>
  <p:transition/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9E1560-C465-4444-AA4D-2CD6C4088F8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1172416"/>
      </p:ext>
    </p:extLst>
  </p:cSld>
  <p:clrMapOvr>
    <a:masterClrMapping/>
  </p:clrMapOvr>
  <p:transition/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F3375-148A-4F26-ABB5-7658FFA606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565144"/>
      </p:ext>
    </p:extLst>
  </p:cSld>
  <p:clrMapOvr>
    <a:masterClrMapping/>
  </p:clrMapOvr>
  <p:transition/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6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A20F19-7F9B-44AB-8E2B-B0C795E8804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045883"/>
      </p:ext>
    </p:extLst>
  </p:cSld>
  <p:clrMapOvr>
    <a:masterClrMapping/>
  </p:clrMapOvr>
  <p:transition/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035" indent="0">
              <a:buNone/>
              <a:defRPr sz="2275"/>
            </a:lvl2pPr>
            <a:lvl3pPr marL="742062" indent="0">
              <a:buNone/>
              <a:defRPr sz="1950"/>
            </a:lvl3pPr>
            <a:lvl4pPr marL="1113093" indent="0">
              <a:buNone/>
              <a:defRPr sz="1625"/>
            </a:lvl4pPr>
            <a:lvl5pPr marL="1484123" indent="0">
              <a:buNone/>
              <a:defRPr sz="1625"/>
            </a:lvl5pPr>
            <a:lvl6pPr marL="1855154" indent="0">
              <a:buNone/>
              <a:defRPr sz="1625"/>
            </a:lvl6pPr>
            <a:lvl7pPr marL="2226184" indent="0">
              <a:buNone/>
              <a:defRPr sz="1625"/>
            </a:lvl7pPr>
            <a:lvl8pPr marL="2597215" indent="0">
              <a:buNone/>
              <a:defRPr sz="1625"/>
            </a:lvl8pPr>
            <a:lvl9pPr marL="2968246" indent="0">
              <a:buNone/>
              <a:defRPr sz="162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1CE448-605B-462B-9634-5D28EF3164D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015164"/>
      </p:ext>
    </p:extLst>
  </p:cSld>
  <p:clrMapOvr>
    <a:masterClrMapping/>
  </p:clrMapOvr>
  <p:transition/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09A0B5-EA89-4D83-9F03-189D0F66DA7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6322069"/>
      </p:ext>
    </p:extLst>
  </p:cSld>
  <p:clrMapOvr>
    <a:masterClrMapping/>
  </p:clrMapOvr>
  <p:transition/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11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3" y="11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4EF1CF-DA21-4A72-B1E1-861ECDB00B1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1694753"/>
      </p:ext>
    </p:extLst>
  </p:cSld>
  <p:clrMapOvr>
    <a:masterClrMapping/>
  </p:clrMapOvr>
  <p:transition/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61F226-4C08-4482-B8C3-215681A466A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2243965"/>
      </p:ext>
    </p:extLst>
  </p:cSld>
  <p:clrMapOvr>
    <a:masterClrMapping/>
  </p:clrMapOvr>
  <p:transition/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2137FF-0FA4-4B60-BE57-DF5E0AF88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18144461"/>
      </p:ext>
    </p:extLst>
  </p:cSld>
  <p:clrMapOvr>
    <a:masterClrMapping/>
  </p:clrMapOvr>
  <p:transition/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035" indent="0" algn="ctr">
              <a:buNone/>
              <a:defRPr/>
            </a:lvl2pPr>
            <a:lvl3pPr marL="742062" indent="0" algn="ctr">
              <a:buNone/>
              <a:defRPr/>
            </a:lvl3pPr>
            <a:lvl4pPr marL="1113093" indent="0" algn="ctr">
              <a:buNone/>
              <a:defRPr/>
            </a:lvl4pPr>
            <a:lvl5pPr marL="1484123" indent="0" algn="ctr">
              <a:buNone/>
              <a:defRPr/>
            </a:lvl5pPr>
            <a:lvl6pPr marL="1855154" indent="0" algn="ctr">
              <a:buNone/>
              <a:defRPr/>
            </a:lvl6pPr>
            <a:lvl7pPr marL="2226184" indent="0" algn="ctr">
              <a:buNone/>
              <a:defRPr/>
            </a:lvl7pPr>
            <a:lvl8pPr marL="2597215" indent="0" algn="ctr">
              <a:buNone/>
              <a:defRPr/>
            </a:lvl8pPr>
            <a:lvl9pPr marL="296824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A89DA1-13EB-4320-A3A5-A2A2655BA65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6749619"/>
      </p:ext>
    </p:extLst>
  </p:cSld>
  <p:clrMapOvr>
    <a:masterClrMapping/>
  </p:clrMapOvr>
  <p:transition/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3753816-6012-4E45-BA69-0E9661ACE74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7750540"/>
      </p:ext>
    </p:extLst>
  </p:cSld>
  <p:clrMapOvr>
    <a:masterClrMapping/>
  </p:clrMapOvr>
  <p:transition/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035" indent="0">
              <a:buNone/>
              <a:defRPr sz="1462"/>
            </a:lvl2pPr>
            <a:lvl3pPr marL="742062" indent="0">
              <a:buNone/>
              <a:defRPr sz="1300"/>
            </a:lvl3pPr>
            <a:lvl4pPr marL="1113093" indent="0">
              <a:buNone/>
              <a:defRPr sz="1137"/>
            </a:lvl4pPr>
            <a:lvl5pPr marL="1484123" indent="0">
              <a:buNone/>
              <a:defRPr sz="1137"/>
            </a:lvl5pPr>
            <a:lvl6pPr marL="1855154" indent="0">
              <a:buNone/>
              <a:defRPr sz="1137"/>
            </a:lvl6pPr>
            <a:lvl7pPr marL="2226184" indent="0">
              <a:buNone/>
              <a:defRPr sz="1137"/>
            </a:lvl7pPr>
            <a:lvl8pPr marL="2597215" indent="0">
              <a:buNone/>
              <a:defRPr sz="1137"/>
            </a:lvl8pPr>
            <a:lvl9pPr marL="2968246" indent="0">
              <a:buNone/>
              <a:defRPr sz="113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C5FA4CC-C17B-4489-A4FC-389EDE04B5F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0386396"/>
      </p:ext>
    </p:extLst>
  </p:cSld>
  <p:clrMapOvr>
    <a:masterClrMapping/>
  </p:clrMapOvr>
  <p:transition/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07EF4E-E15F-463C-94B1-ADDABB13ABB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4802029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61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25" indent="0">
              <a:buNone/>
              <a:defRPr sz="1462"/>
            </a:lvl2pPr>
            <a:lvl3pPr marL="742848" indent="0">
              <a:buNone/>
              <a:defRPr sz="1300"/>
            </a:lvl3pPr>
            <a:lvl4pPr marL="1114273" indent="0">
              <a:buNone/>
              <a:defRPr sz="1137"/>
            </a:lvl4pPr>
            <a:lvl5pPr marL="1485697" indent="0">
              <a:buNone/>
              <a:defRPr sz="1137"/>
            </a:lvl5pPr>
            <a:lvl6pPr marL="1857122" indent="0">
              <a:buNone/>
              <a:defRPr sz="1137"/>
            </a:lvl6pPr>
            <a:lvl7pPr marL="2228545" indent="0">
              <a:buNone/>
              <a:defRPr sz="1137"/>
            </a:lvl7pPr>
            <a:lvl8pPr marL="2599970" indent="0">
              <a:buNone/>
              <a:defRPr sz="1137"/>
            </a:lvl8pPr>
            <a:lvl9pPr marL="2971393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42D76-09F1-4EC7-8D26-B175185D2CD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285383"/>
      </p:ext>
    </p:extLst>
  </p:cSld>
  <p:clrMapOvr>
    <a:masterClrMapping/>
  </p:clrMapOvr>
  <p:transition/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6875D40-C655-4A40-BAAC-0C626D64022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0011947"/>
      </p:ext>
    </p:extLst>
  </p:cSld>
  <p:clrMapOvr>
    <a:masterClrMapping/>
  </p:clrMapOvr>
  <p:transition/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1C3682-37CC-4FDA-90AB-9353479D870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48074"/>
      </p:ext>
    </p:extLst>
  </p:cSld>
  <p:clrMapOvr>
    <a:masterClrMapping/>
  </p:clrMapOvr>
  <p:transition/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79E1560-C465-4444-AA4D-2CD6C4088F8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5916470"/>
      </p:ext>
    </p:extLst>
  </p:cSld>
  <p:clrMapOvr>
    <a:masterClrMapping/>
  </p:clrMapOvr>
  <p:transition/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6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6A20F19-7F9B-44AB-8E2B-B0C795E8804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75370"/>
      </p:ext>
    </p:extLst>
  </p:cSld>
  <p:clrMapOvr>
    <a:masterClrMapping/>
  </p:clrMapOvr>
  <p:transition/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035" indent="0">
              <a:buNone/>
              <a:defRPr sz="2275"/>
            </a:lvl2pPr>
            <a:lvl3pPr marL="742062" indent="0">
              <a:buNone/>
              <a:defRPr sz="1950"/>
            </a:lvl3pPr>
            <a:lvl4pPr marL="1113093" indent="0">
              <a:buNone/>
              <a:defRPr sz="1625"/>
            </a:lvl4pPr>
            <a:lvl5pPr marL="1484123" indent="0">
              <a:buNone/>
              <a:defRPr sz="1625"/>
            </a:lvl5pPr>
            <a:lvl6pPr marL="1855154" indent="0">
              <a:buNone/>
              <a:defRPr sz="1625"/>
            </a:lvl6pPr>
            <a:lvl7pPr marL="2226184" indent="0">
              <a:buNone/>
              <a:defRPr sz="1625"/>
            </a:lvl7pPr>
            <a:lvl8pPr marL="2597215" indent="0">
              <a:buNone/>
              <a:defRPr sz="1625"/>
            </a:lvl8pPr>
            <a:lvl9pPr marL="2968246" indent="0">
              <a:buNone/>
              <a:defRPr sz="162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E1CE448-605B-462B-9634-5D28EF3164D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39106"/>
      </p:ext>
    </p:extLst>
  </p:cSld>
  <p:clrMapOvr>
    <a:masterClrMapping/>
  </p:clrMapOvr>
  <p:transition/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909A0B5-EA89-4D83-9F03-189D0F66DA7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8674729"/>
      </p:ext>
    </p:extLst>
  </p:cSld>
  <p:clrMapOvr>
    <a:masterClrMapping/>
  </p:clrMapOvr>
  <p:transition/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11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3" y="11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44EF1CF-DA21-4A72-B1E1-861ECDB00B1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16885228"/>
      </p:ext>
    </p:extLst>
  </p:cSld>
  <p:clrMapOvr>
    <a:masterClrMapping/>
  </p:clrMapOvr>
  <p:transition/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961F226-4C08-4482-B8C3-215681A466A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400924"/>
      </p:ext>
    </p:extLst>
  </p:cSld>
  <p:clrMapOvr>
    <a:masterClrMapping/>
  </p:clrMapOvr>
  <p:transition/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2137FF-0FA4-4B60-BE57-DF5E0AF882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6563821"/>
      </p:ext>
    </p:extLst>
  </p:cSld>
  <p:clrMapOvr>
    <a:masterClrMapping/>
  </p:clrMapOvr>
  <p:transition/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977267282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3" y="1125539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30" y="1125539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10C8E1-ADF0-4023-9D41-28961BF287D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0461204"/>
      </p:ext>
    </p:extLst>
  </p:cSld>
  <p:clrMapOvr>
    <a:masterClrMapping/>
  </p:clrMapOvr>
  <p:transition/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5345971"/>
      </p:ext>
    </p:extLst>
  </p:cSld>
  <p:clrMapOvr>
    <a:masterClrMapping/>
  </p:clrMapOvr>
  <p:transition/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34573"/>
      </p:ext>
    </p:extLst>
  </p:cSld>
  <p:clrMapOvr>
    <a:masterClrMapping/>
  </p:clrMapOvr>
  <p:transition/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2255268"/>
      </p:ext>
    </p:extLst>
  </p:cSld>
  <p:clrMapOvr>
    <a:masterClrMapping/>
  </p:clrMapOvr>
  <p:transition/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3882985"/>
      </p:ext>
    </p:extLst>
  </p:cSld>
  <p:clrMapOvr>
    <a:masterClrMapping/>
  </p:clrMapOvr>
  <p:transition/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983933"/>
      </p:ext>
    </p:extLst>
  </p:cSld>
  <p:clrMapOvr>
    <a:masterClrMapping/>
  </p:clrMapOvr>
  <p:transition/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5724608"/>
      </p:ext>
    </p:extLst>
  </p:cSld>
  <p:clrMapOvr>
    <a:masterClrMapping/>
  </p:clrMapOvr>
  <p:transition/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8531753"/>
      </p:ext>
    </p:extLst>
  </p:cSld>
  <p:clrMapOvr>
    <a:masterClrMapping/>
  </p:clrMapOvr>
  <p:transition/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6872830"/>
      </p:ext>
    </p:extLst>
  </p:cSld>
  <p:clrMapOvr>
    <a:masterClrMapping/>
  </p:clrMapOvr>
  <p:transition/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696156"/>
      </p:ext>
    </p:extLst>
  </p:cSld>
  <p:clrMapOvr>
    <a:masterClrMapping/>
  </p:clrMapOvr>
  <p:transition/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4116"/>
      </p:ext>
    </p:extLst>
  </p:cSld>
  <p:clrMapOvr>
    <a:masterClrMapping/>
  </p:clrMapOvr>
  <p:transition/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84A5F-0936-4AF9-B8A5-3BFE0618429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8225377"/>
      </p:ext>
    </p:extLst>
  </p:cSld>
  <p:clrMapOvr>
    <a:masterClrMapping/>
  </p:clrMapOvr>
  <p:transition/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06169878"/>
      </p:ext>
    </p:extLst>
  </p:cSld>
  <p:clrMapOvr>
    <a:masterClrMapping/>
  </p:clrMapOvr>
  <p:transition>
    <p:fade/>
  </p:transition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50558"/>
      </p:ext>
    </p:extLst>
  </p:cSld>
  <p:clrMapOvr>
    <a:masterClrMapping/>
  </p:clrMapOvr>
  <p:transition/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7062963"/>
      </p:ext>
    </p:extLst>
  </p:cSld>
  <p:clrMapOvr>
    <a:masterClrMapping/>
  </p:clrMapOvr>
  <p:transition/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7822756"/>
      </p:ext>
    </p:extLst>
  </p:cSld>
  <p:clrMapOvr>
    <a:masterClrMapping/>
  </p:clrMapOvr>
  <p:transition/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7143422"/>
      </p:ext>
    </p:extLst>
  </p:cSld>
  <p:clrMapOvr>
    <a:masterClrMapping/>
  </p:clrMapOvr>
  <p:transition/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95402026"/>
      </p:ext>
    </p:extLst>
  </p:cSld>
  <p:clrMapOvr>
    <a:masterClrMapping/>
  </p:clrMapOvr>
  <p:transition/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4597902"/>
      </p:ext>
    </p:extLst>
  </p:cSld>
  <p:clrMapOvr>
    <a:masterClrMapping/>
  </p:clrMapOvr>
  <p:transition/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5734468"/>
      </p:ext>
    </p:extLst>
  </p:cSld>
  <p:clrMapOvr>
    <a:masterClrMapping/>
  </p:clrMapOvr>
  <p:transition/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86113"/>
      </p:ext>
    </p:extLst>
  </p:cSld>
  <p:clrMapOvr>
    <a:masterClrMapping/>
  </p:clrMapOvr>
  <p:transition/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1259724"/>
      </p:ext>
    </p:extLst>
  </p:cSld>
  <p:clrMapOvr>
    <a:masterClrMapping/>
  </p:clrMapOvr>
  <p:transition/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3D998-F6D4-4517-90DE-1869ECC309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324135"/>
      </p:ext>
    </p:extLst>
  </p:cSld>
  <p:clrMapOvr>
    <a:masterClrMapping/>
  </p:clrMapOvr>
  <p:transition/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7988403"/>
      </p:ext>
    </p:extLst>
  </p:cSld>
  <p:clrMapOvr>
    <a:masterClrMapping/>
  </p:clrMapOvr>
  <p:transition/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133634500"/>
      </p:ext>
    </p:extLst>
  </p:cSld>
  <p:clrMapOvr>
    <a:masterClrMapping/>
  </p:clrMapOvr>
  <p:transition>
    <p:fade/>
  </p:transition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8570001"/>
      </p:ext>
    </p:extLst>
  </p:cSld>
  <p:clrMapOvr>
    <a:masterClrMapping/>
  </p:clrMapOvr>
  <p:transition/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0037114"/>
      </p:ext>
    </p:extLst>
  </p:cSld>
  <p:clrMapOvr>
    <a:masterClrMapping/>
  </p:clrMapOvr>
  <p:transition/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3347556"/>
      </p:ext>
    </p:extLst>
  </p:cSld>
  <p:clrMapOvr>
    <a:masterClrMapping/>
  </p:clrMapOvr>
  <p:transition/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4759619"/>
      </p:ext>
    </p:extLst>
  </p:cSld>
  <p:clrMapOvr>
    <a:masterClrMapping/>
  </p:clrMapOvr>
  <p:transition/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132152"/>
      </p:ext>
    </p:extLst>
  </p:cSld>
  <p:clrMapOvr>
    <a:masterClrMapping/>
  </p:clrMapOvr>
  <p:transition/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205006"/>
      </p:ext>
    </p:extLst>
  </p:cSld>
  <p:clrMapOvr>
    <a:masterClrMapping/>
  </p:clrMapOvr>
  <p:transition/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486009"/>
      </p:ext>
    </p:extLst>
  </p:cSld>
  <p:clrMapOvr>
    <a:masterClrMapping/>
  </p:clrMapOvr>
  <p:transition/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2650887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213EC-A4FD-44B2-B14C-42B1E3FD709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0554042"/>
      </p:ext>
    </p:extLst>
  </p:cSld>
  <p:clrMapOvr>
    <a:masterClrMapping/>
  </p:clrMapOvr>
  <p:transition/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99606"/>
      </p:ext>
    </p:extLst>
  </p:cSld>
  <p:clrMapOvr>
    <a:masterClrMapping/>
  </p:clrMapOvr>
  <p:transition/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7422524"/>
      </p:ext>
    </p:extLst>
  </p:cSld>
  <p:clrMapOvr>
    <a:masterClrMapping/>
  </p:clrMapOvr>
  <p:transition/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95852482"/>
      </p:ext>
    </p:extLst>
  </p:cSld>
  <p:clrMapOvr>
    <a:masterClrMapping/>
  </p:clrMapOvr>
  <p:transition>
    <p:fade/>
  </p:transition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8938191"/>
      </p:ext>
    </p:extLst>
  </p:cSld>
  <p:clrMapOvr>
    <a:masterClrMapping/>
  </p:clrMapOvr>
  <p:transition/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7142830"/>
      </p:ext>
    </p:extLst>
  </p:cSld>
  <p:clrMapOvr>
    <a:masterClrMapping/>
  </p:clrMapOvr>
  <p:transition/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468748"/>
      </p:ext>
    </p:extLst>
  </p:cSld>
  <p:clrMapOvr>
    <a:masterClrMapping/>
  </p:clrMapOvr>
  <p:transition/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9159530"/>
      </p:ext>
    </p:extLst>
  </p:cSld>
  <p:clrMapOvr>
    <a:masterClrMapping/>
  </p:clrMapOvr>
  <p:transition/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7529620"/>
      </p:ext>
    </p:extLst>
  </p:cSld>
  <p:clrMapOvr>
    <a:masterClrMapping/>
  </p:clrMapOvr>
  <p:transition/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9394303"/>
      </p:ext>
    </p:extLst>
  </p:cSld>
  <p:clrMapOvr>
    <a:masterClrMapping/>
  </p:clrMapOvr>
  <p:transition/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8206543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0E8DE3E-B843-40C0-893B-3A35DA17BFE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7998316"/>
      </p:ext>
    </p:extLst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9C498-7EE5-4812-B797-D3709710132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20566"/>
      </p:ext>
    </p:extLst>
  </p:cSld>
  <p:clrMapOvr>
    <a:masterClrMapping/>
  </p:clrMapOvr>
  <p:transition/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341444"/>
      </p:ext>
    </p:extLst>
  </p:cSld>
  <p:clrMapOvr>
    <a:masterClrMapping/>
  </p:clrMapOvr>
  <p:transition/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4223507"/>
      </p:ext>
    </p:extLst>
  </p:cSld>
  <p:clrMapOvr>
    <a:masterClrMapping/>
  </p:clrMapOvr>
  <p:transition/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440040"/>
      </p:ext>
    </p:extLst>
  </p:cSld>
  <p:clrMapOvr>
    <a:masterClrMapping/>
  </p:clrMapOvr>
  <p:transition/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32530696"/>
      </p:ext>
    </p:extLst>
  </p:cSld>
  <p:clrMapOvr>
    <a:masterClrMapping/>
  </p:clrMapOvr>
  <p:transition>
    <p:fade/>
  </p:transition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8031580"/>
      </p:ext>
    </p:extLst>
  </p:cSld>
  <p:clrMapOvr>
    <a:masterClrMapping/>
  </p:clrMapOvr>
  <p:transition/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634233"/>
      </p:ext>
    </p:extLst>
  </p:cSld>
  <p:clrMapOvr>
    <a:masterClrMapping/>
  </p:clrMapOvr>
  <p:transition/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9696723"/>
      </p:ext>
    </p:extLst>
  </p:cSld>
  <p:clrMapOvr>
    <a:masterClrMapping/>
  </p:clrMapOvr>
  <p:transition/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4774109"/>
      </p:ext>
    </p:extLst>
  </p:cSld>
  <p:clrMapOvr>
    <a:masterClrMapping/>
  </p:clrMapOvr>
  <p:transition/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54747745"/>
      </p:ext>
    </p:extLst>
  </p:cSld>
  <p:clrMapOvr>
    <a:masterClrMapping/>
  </p:clrMapOvr>
  <p:transition/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692348"/>
      </p:ext>
    </p:extLst>
  </p:cSld>
  <p:clrMapOvr>
    <a:masterClrMapping/>
  </p:clrMapOvr>
  <p:transition/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25" indent="0">
              <a:buNone/>
              <a:defRPr sz="2275"/>
            </a:lvl2pPr>
            <a:lvl3pPr marL="742848" indent="0">
              <a:buNone/>
              <a:defRPr sz="1950"/>
            </a:lvl3pPr>
            <a:lvl4pPr marL="1114273" indent="0">
              <a:buNone/>
              <a:defRPr sz="1625"/>
            </a:lvl4pPr>
            <a:lvl5pPr marL="1485697" indent="0">
              <a:buNone/>
              <a:defRPr sz="1625"/>
            </a:lvl5pPr>
            <a:lvl6pPr marL="1857122" indent="0">
              <a:buNone/>
              <a:defRPr sz="1625"/>
            </a:lvl6pPr>
            <a:lvl7pPr marL="2228545" indent="0">
              <a:buNone/>
              <a:defRPr sz="1625"/>
            </a:lvl7pPr>
            <a:lvl8pPr marL="2599970" indent="0">
              <a:buNone/>
              <a:defRPr sz="1625"/>
            </a:lvl8pPr>
            <a:lvl9pPr marL="2971393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0F0F6-CCC6-4BCE-AEF3-550AD85CF0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9788912"/>
      </p:ext>
    </p:extLst>
  </p:cSld>
  <p:clrMapOvr>
    <a:masterClrMapping/>
  </p:clrMapOvr>
  <p:transition/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8450119"/>
      </p:ext>
    </p:extLst>
  </p:cSld>
  <p:clrMapOvr>
    <a:masterClrMapping/>
  </p:clrMapOvr>
  <p:transition/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4970783"/>
      </p:ext>
    </p:extLst>
  </p:cSld>
  <p:clrMapOvr>
    <a:masterClrMapping/>
  </p:clrMapOvr>
  <p:transition/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384446"/>
      </p:ext>
    </p:extLst>
  </p:cSld>
  <p:clrMapOvr>
    <a:masterClrMapping/>
  </p:clrMapOvr>
  <p:transition/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010385"/>
      </p:ext>
    </p:extLst>
  </p:cSld>
  <p:clrMapOvr>
    <a:masterClrMapping/>
  </p:clrMapOvr>
  <p:transition/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9"/>
            <a:ext cx="8420100" cy="1470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035" indent="0" algn="ctr">
              <a:buNone/>
              <a:defRPr/>
            </a:lvl2pPr>
            <a:lvl3pPr marL="742062" indent="0" algn="ctr">
              <a:buNone/>
              <a:defRPr/>
            </a:lvl3pPr>
            <a:lvl4pPr marL="1113093" indent="0" algn="ctr">
              <a:buNone/>
              <a:defRPr/>
            </a:lvl4pPr>
            <a:lvl5pPr marL="1484123" indent="0" algn="ctr">
              <a:buNone/>
              <a:defRPr/>
            </a:lvl5pPr>
            <a:lvl6pPr marL="1855154" indent="0" algn="ctr">
              <a:buNone/>
              <a:defRPr/>
            </a:lvl6pPr>
            <a:lvl7pPr marL="2226184" indent="0" algn="ctr">
              <a:buNone/>
              <a:defRPr/>
            </a:lvl7pPr>
            <a:lvl8pPr marL="2597215" indent="0" algn="ctr">
              <a:buNone/>
              <a:defRPr/>
            </a:lvl8pPr>
            <a:lvl9pPr marL="2968246" indent="0" algn="ctr">
              <a:buNone/>
              <a:defRPr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61578C-6B6E-4014-BBFE-C1A316FB7A8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090960"/>
      </p:ext>
    </p:extLst>
  </p:cSld>
  <p:clrMapOvr>
    <a:masterClrMapping/>
  </p:clrMapOvr>
  <p:transition/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4FBB085-E911-41D2-AE3B-36F7F9DE2A93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0159882"/>
      </p:ext>
    </p:extLst>
  </p:cSld>
  <p:clrMapOvr>
    <a:masterClrMapping/>
  </p:clrMapOvr>
  <p:transition/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035" indent="0">
              <a:buNone/>
              <a:defRPr sz="1462"/>
            </a:lvl2pPr>
            <a:lvl3pPr marL="742062" indent="0">
              <a:buNone/>
              <a:defRPr sz="1300"/>
            </a:lvl3pPr>
            <a:lvl4pPr marL="1113093" indent="0">
              <a:buNone/>
              <a:defRPr sz="1137"/>
            </a:lvl4pPr>
            <a:lvl5pPr marL="1484123" indent="0">
              <a:buNone/>
              <a:defRPr sz="1137"/>
            </a:lvl5pPr>
            <a:lvl6pPr marL="1855154" indent="0">
              <a:buNone/>
              <a:defRPr sz="1137"/>
            </a:lvl6pPr>
            <a:lvl7pPr marL="2226184" indent="0">
              <a:buNone/>
              <a:defRPr sz="1137"/>
            </a:lvl7pPr>
            <a:lvl8pPr marL="2597215" indent="0">
              <a:buNone/>
              <a:defRPr sz="1137"/>
            </a:lvl8pPr>
            <a:lvl9pPr marL="2968246" indent="0">
              <a:buNone/>
              <a:defRPr sz="1137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C28FA5-B7EC-4E3C-B955-53262C12BCD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13243140"/>
      </p:ext>
    </p:extLst>
  </p:cSld>
  <p:clrMapOvr>
    <a:masterClrMapping/>
  </p:clrMapOvr>
  <p:transition/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4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57F8852-04F5-4643-8299-6C746AD2099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8425973"/>
      </p:ext>
    </p:extLst>
  </p:cSld>
  <p:clrMapOvr>
    <a:masterClrMapping/>
  </p:clrMapOvr>
  <p:transition/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035" indent="0">
              <a:buNone/>
              <a:defRPr sz="1625" b="1"/>
            </a:lvl2pPr>
            <a:lvl3pPr marL="742062" indent="0">
              <a:buNone/>
              <a:defRPr sz="1462" b="1"/>
            </a:lvl3pPr>
            <a:lvl4pPr marL="1113093" indent="0">
              <a:buNone/>
              <a:defRPr sz="1300" b="1"/>
            </a:lvl4pPr>
            <a:lvl5pPr marL="1484123" indent="0">
              <a:buNone/>
              <a:defRPr sz="1300" b="1"/>
            </a:lvl5pPr>
            <a:lvl6pPr marL="1855154" indent="0">
              <a:buNone/>
              <a:defRPr sz="1300" b="1"/>
            </a:lvl6pPr>
            <a:lvl7pPr marL="2226184" indent="0">
              <a:buNone/>
              <a:defRPr sz="1300" b="1"/>
            </a:lvl7pPr>
            <a:lvl8pPr marL="2597215" indent="0">
              <a:buNone/>
              <a:defRPr sz="1300" b="1"/>
            </a:lvl8pPr>
            <a:lvl9pPr marL="2968246" indent="0">
              <a:buNone/>
              <a:defRPr sz="13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3077FE3-9F33-4AFF-A97F-7FA525F74E1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6832650"/>
      </p:ext>
    </p:extLst>
  </p:cSld>
  <p:clrMapOvr>
    <a:masterClrMapping/>
  </p:clrMapOvr>
  <p:transition/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D0CB7A-4469-4DDD-805A-2D1E0F480E0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8266655"/>
      </p:ext>
    </p:extLst>
  </p:cSld>
  <p:clrMapOvr>
    <a:masterClrMapping/>
  </p:clrMapOvr>
  <p:transition/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042E5-1C8C-45DE-A6AF-7287B132F4F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553396"/>
      </p:ext>
    </p:extLst>
  </p:cSld>
  <p:clrMapOvr>
    <a:masterClrMapping/>
  </p:clrMapOvr>
  <p:transition/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37014D8-7410-4684-ABBF-7BE29248D2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7688228"/>
      </p:ext>
    </p:extLst>
  </p:cSld>
  <p:clrMapOvr>
    <a:masterClrMapping/>
  </p:clrMapOvr>
  <p:transition/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6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6BE4057-6BA3-48AA-8BAB-CC204573AF7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2503334"/>
      </p:ext>
    </p:extLst>
  </p:cSld>
  <p:clrMapOvr>
    <a:masterClrMapping/>
  </p:clrMapOvr>
  <p:transition/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035" indent="0">
              <a:buNone/>
              <a:defRPr sz="2275"/>
            </a:lvl2pPr>
            <a:lvl3pPr marL="742062" indent="0">
              <a:buNone/>
              <a:defRPr sz="1950"/>
            </a:lvl3pPr>
            <a:lvl4pPr marL="1113093" indent="0">
              <a:buNone/>
              <a:defRPr sz="1625"/>
            </a:lvl4pPr>
            <a:lvl5pPr marL="1484123" indent="0">
              <a:buNone/>
              <a:defRPr sz="1625"/>
            </a:lvl5pPr>
            <a:lvl6pPr marL="1855154" indent="0">
              <a:buNone/>
              <a:defRPr sz="1625"/>
            </a:lvl6pPr>
            <a:lvl7pPr marL="2226184" indent="0">
              <a:buNone/>
              <a:defRPr sz="1625"/>
            </a:lvl7pPr>
            <a:lvl8pPr marL="2597215" indent="0">
              <a:buNone/>
              <a:defRPr sz="1625"/>
            </a:lvl8pPr>
            <a:lvl9pPr marL="2968246" indent="0">
              <a:buNone/>
              <a:defRPr sz="1625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035" indent="0">
              <a:buNone/>
              <a:defRPr sz="975"/>
            </a:lvl2pPr>
            <a:lvl3pPr marL="742062" indent="0">
              <a:buNone/>
              <a:defRPr sz="812"/>
            </a:lvl3pPr>
            <a:lvl4pPr marL="1113093" indent="0">
              <a:buNone/>
              <a:defRPr sz="731"/>
            </a:lvl4pPr>
            <a:lvl5pPr marL="1484123" indent="0">
              <a:buNone/>
              <a:defRPr sz="731"/>
            </a:lvl5pPr>
            <a:lvl6pPr marL="1855154" indent="0">
              <a:buNone/>
              <a:defRPr sz="731"/>
            </a:lvl6pPr>
            <a:lvl7pPr marL="2226184" indent="0">
              <a:buNone/>
              <a:defRPr sz="731"/>
            </a:lvl7pPr>
            <a:lvl8pPr marL="2597215" indent="0">
              <a:buNone/>
              <a:defRPr sz="731"/>
            </a:lvl8pPr>
            <a:lvl9pPr marL="2968246" indent="0">
              <a:buNone/>
              <a:defRPr sz="73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2619B9E-A2A0-4552-AAD9-C2115565358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8528419"/>
      </p:ext>
    </p:extLst>
  </p:cSld>
  <p:clrMapOvr>
    <a:masterClrMapping/>
  </p:clrMapOvr>
  <p:transition/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9075C6-CBD9-4EC2-BEE7-638490EA5EC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664257"/>
      </p:ext>
    </p:extLst>
  </p:cSld>
  <p:clrMapOvr>
    <a:masterClrMapping/>
  </p:clrMapOvr>
  <p:transition/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11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3" y="11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93F05AF-B85F-4B2A-B3D1-0B33AF08B1D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7062061"/>
      </p:ext>
    </p:extLst>
  </p:cSld>
  <p:clrMapOvr>
    <a:masterClrMapping/>
  </p:clrMapOvr>
  <p:transition/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8EE7870-40AF-49E7-A755-AAB230AF3B7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9192452"/>
      </p:ext>
    </p:extLst>
  </p:cSld>
  <p:clrMapOvr>
    <a:masterClrMapping/>
  </p:clrMapOvr>
  <p:transition/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8"/>
            <a:ext cx="9126934" cy="5148262"/>
          </a:xfrm>
        </p:spPr>
        <p:txBody>
          <a:bodyPr/>
          <a:lstStyle/>
          <a:p>
            <a:pPr lvl="0"/>
            <a:endParaRPr lang="ru-RU" noProof="0" dirty="0"/>
          </a:p>
        </p:txBody>
      </p:sp>
      <p:sp>
        <p:nvSpPr>
          <p:cNvPr id="4" name="Rectangle 3">
            <a:extLst/>
          </p:cNvPr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0DF2575-2A73-423C-8B81-7BDF63345A9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9478969"/>
      </p:ext>
    </p:extLst>
  </p:cSld>
  <p:clrMapOvr>
    <a:masterClrMapping/>
  </p:clrMapOvr>
  <p:transition/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9790099"/>
      </p:ext>
    </p:extLst>
  </p:cSld>
  <p:clrMapOvr>
    <a:masterClrMapping/>
  </p:clrMapOvr>
  <p:transition>
    <p:fade/>
  </p:transition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743171"/>
      </p:ext>
    </p:extLst>
  </p:cSld>
  <p:clrMapOvr>
    <a:masterClrMapping/>
  </p:clrMapOvr>
  <p:transition/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32287660"/>
      </p:ext>
    </p:extLst>
  </p:cSld>
  <p:clrMapOvr>
    <a:masterClrMapping/>
  </p:clrMapOvr>
  <p:transition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7" y="1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A6B0E-062E-4164-B20E-0679A7FC19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122624"/>
      </p:ext>
    </p:extLst>
  </p:cSld>
  <p:clrMapOvr>
    <a:masterClrMapping/>
  </p:clrMapOvr>
  <p:transition/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441190"/>
      </p:ext>
    </p:extLst>
  </p:cSld>
  <p:clrMapOvr>
    <a:masterClrMapping/>
  </p:clrMapOvr>
  <p:transition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4193375"/>
      </p:ext>
    </p:extLst>
  </p:cSld>
  <p:clrMapOvr>
    <a:masterClrMapping/>
  </p:clrMapOvr>
  <p:transition/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5462962"/>
      </p:ext>
    </p:extLst>
  </p:cSld>
  <p:clrMapOvr>
    <a:masterClrMapping/>
  </p:clrMapOvr>
  <p:transition/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8545195"/>
      </p:ext>
    </p:extLst>
  </p:cSld>
  <p:clrMapOvr>
    <a:masterClrMapping/>
  </p:clrMapOvr>
  <p:transition/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9135684"/>
      </p:ext>
    </p:extLst>
  </p:cSld>
  <p:clrMapOvr>
    <a:masterClrMapping/>
  </p:clrMapOvr>
  <p:transition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65416"/>
      </p:ext>
    </p:extLst>
  </p:cSld>
  <p:clrMapOvr>
    <a:masterClrMapping/>
  </p:clrMapOvr>
  <p:transition/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0880210"/>
      </p:ext>
    </p:extLst>
  </p:cSld>
  <p:clrMapOvr>
    <a:masterClrMapping/>
  </p:clrMapOvr>
  <p:transition/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587347"/>
      </p:ext>
    </p:extLst>
  </p:cSld>
  <p:clrMapOvr>
    <a:masterClrMapping/>
  </p:clrMapOvr>
  <p:transition/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D66ED-D840-41FA-BCD1-C8301C63164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0638093"/>
      </p:ext>
    </p:extLst>
  </p:cSld>
  <p:clrMapOvr>
    <a:masterClrMapping/>
  </p:clrMapOvr>
  <p:transition/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97120147"/>
      </p:ext>
    </p:extLst>
  </p:cSld>
  <p:clrMapOvr>
    <a:masterClrMapping/>
  </p:clrMapOvr>
  <p:transition>
    <p:fade/>
  </p:transition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EFFED-B480-4D39-AB5C-F6DD31B8F0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542078"/>
      </p:ext>
    </p:extLst>
  </p:cSld>
  <p:clrMapOvr>
    <a:masterClrMapping/>
  </p:clrMapOvr>
  <p:transition/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C90759-0F72-4F82-ADDB-49405684D0C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489205"/>
      </p:ext>
    </p:extLst>
  </p:cSld>
  <p:clrMapOvr>
    <a:masterClrMapping/>
  </p:clrMapOvr>
  <p:transition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7F8F025-DA85-479D-8F52-8CB3DADD6CBD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7109266"/>
      </p:ext>
    </p:extLst>
  </p:cSld>
  <p:clrMapOvr>
    <a:masterClrMapping/>
  </p:clrMapOvr>
  <p:transition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64E7974-3DF8-42B8-8E6F-B7773126B9C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2220429"/>
      </p:ext>
    </p:extLst>
  </p:cSld>
  <p:clrMapOvr>
    <a:masterClrMapping/>
  </p:clrMapOvr>
  <p:transition/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874C069-11B4-4201-8E56-04A921471B41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0915298"/>
      </p:ext>
    </p:extLst>
  </p:cSld>
  <p:clrMapOvr>
    <a:masterClrMapping/>
  </p:clrMapOvr>
  <p:transition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6A14B1-C4F6-4BB5-B588-0B6A53645A17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8833523"/>
      </p:ext>
    </p:extLst>
  </p:cSld>
  <p:clrMapOvr>
    <a:masterClrMapping/>
  </p:clrMapOvr>
  <p:transition/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8F5A247-F6C6-4B3F-9D52-593FA3178240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3042718"/>
      </p:ext>
    </p:extLst>
  </p:cSld>
  <p:clrMapOvr>
    <a:masterClrMapping/>
  </p:clrMapOvr>
  <p:transition/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0CB3053-AADC-45C6-A1E0-3DC73DB7B568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028452"/>
      </p:ext>
    </p:extLst>
  </p:cSld>
  <p:clrMapOvr>
    <a:masterClrMapping/>
  </p:clrMapOvr>
  <p:transition/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DD3CD62-0B45-49CA-A6F7-0876D77DC0D9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7916880"/>
      </p:ext>
    </p:extLst>
  </p:cSld>
  <p:clrMapOvr>
    <a:masterClrMapping/>
  </p:clrMapOvr>
  <p:transition/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94FEC68-3258-49A1-8796-992BBDA16BF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0439998"/>
      </p:ext>
    </p:extLst>
  </p:cSld>
  <p:clrMapOvr>
    <a:masterClrMapping/>
  </p:clrMapOvr>
  <p:transition/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F796F3B-EA9C-4C8C-8918-7CDF6E0D787A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8021857"/>
      </p:ext>
    </p:extLst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13277A-123E-49FC-9E7F-D247C27F788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031599"/>
      </p:ext>
    </p:extLst>
  </p:cSld>
  <p:clrMapOvr>
    <a:masterClrMapping/>
  </p:clrMapOvr>
  <p:transition/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87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425" indent="0" algn="ctr">
              <a:buNone/>
              <a:defRPr/>
            </a:lvl2pPr>
            <a:lvl3pPr marL="742848" indent="0" algn="ctr">
              <a:buNone/>
              <a:defRPr/>
            </a:lvl3pPr>
            <a:lvl4pPr marL="1114273" indent="0" algn="ctr">
              <a:buNone/>
              <a:defRPr/>
            </a:lvl4pPr>
            <a:lvl5pPr marL="1485697" indent="0" algn="ctr">
              <a:buNone/>
              <a:defRPr/>
            </a:lvl5pPr>
            <a:lvl6pPr marL="1857122" indent="0" algn="ctr">
              <a:buNone/>
              <a:defRPr/>
            </a:lvl6pPr>
            <a:lvl7pPr marL="2228545" indent="0" algn="ctr">
              <a:buNone/>
              <a:defRPr/>
            </a:lvl7pPr>
            <a:lvl8pPr marL="2599970" indent="0" algn="ctr">
              <a:buNone/>
              <a:defRPr/>
            </a:lvl8pPr>
            <a:lvl9pPr marL="2971393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6875D3-5C5C-4156-BE2D-54571A9212F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451737"/>
      </p:ext>
    </p:extLst>
  </p:cSld>
  <p:clrMapOvr>
    <a:masterClrMapping/>
  </p:clrMapOvr>
  <p:transition/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CD613B3-7AA1-40C8-926C-57269E3372A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59006592"/>
      </p:ext>
    </p:extLst>
  </p:cSld>
  <p:clrMapOvr>
    <a:masterClrMapping/>
  </p:clrMapOvr>
  <p:transition/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61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25" indent="0">
              <a:buNone/>
              <a:defRPr sz="1462"/>
            </a:lvl2pPr>
            <a:lvl3pPr marL="742848" indent="0">
              <a:buNone/>
              <a:defRPr sz="1300"/>
            </a:lvl3pPr>
            <a:lvl4pPr marL="1114273" indent="0">
              <a:buNone/>
              <a:defRPr sz="1137"/>
            </a:lvl4pPr>
            <a:lvl5pPr marL="1485697" indent="0">
              <a:buNone/>
              <a:defRPr sz="1137"/>
            </a:lvl5pPr>
            <a:lvl6pPr marL="1857122" indent="0">
              <a:buNone/>
              <a:defRPr sz="1137"/>
            </a:lvl6pPr>
            <a:lvl7pPr marL="2228545" indent="0">
              <a:buNone/>
              <a:defRPr sz="1137"/>
            </a:lvl7pPr>
            <a:lvl8pPr marL="2599970" indent="0">
              <a:buNone/>
              <a:defRPr sz="1137"/>
            </a:lvl8pPr>
            <a:lvl9pPr marL="2971393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322443F-707A-4B93-9E41-C87E6D709451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85961976"/>
      </p:ext>
    </p:extLst>
  </p:cSld>
  <p:clrMapOvr>
    <a:masterClrMapping/>
  </p:clrMapOvr>
  <p:transition/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3" y="1125539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30" y="1125539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BD2FBCA-149D-4333-BF65-256963DE7F3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90756448"/>
      </p:ext>
    </p:extLst>
  </p:cSld>
  <p:clrMapOvr>
    <a:masterClrMapping/>
  </p:clrMapOvr>
  <p:transition/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7E7CD7-D044-4993-8A66-F077DF6E1FD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191067"/>
      </p:ext>
    </p:extLst>
  </p:cSld>
  <p:clrMapOvr>
    <a:masterClrMapping/>
  </p:clrMapOvr>
  <p:transition/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5EA373-E60E-4EFA-B0D0-191A87E66AF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921834"/>
      </p:ext>
    </p:extLst>
  </p:cSld>
  <p:clrMapOvr>
    <a:masterClrMapping/>
  </p:clrMapOvr>
  <p:transition/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75C83B8-8FEB-469E-9F86-3D491689F2A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70338326"/>
      </p:ext>
    </p:extLst>
  </p:cSld>
  <p:clrMapOvr>
    <a:masterClrMapping/>
  </p:clrMapOvr>
  <p:transition/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B4600B-4A2E-488D-9CAE-4100220EAFA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079788"/>
      </p:ext>
    </p:extLst>
  </p:cSld>
  <p:clrMapOvr>
    <a:masterClrMapping/>
  </p:clrMapOvr>
  <p:transition/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25" indent="0">
              <a:buNone/>
              <a:defRPr sz="2275"/>
            </a:lvl2pPr>
            <a:lvl3pPr marL="742848" indent="0">
              <a:buNone/>
              <a:defRPr sz="1950"/>
            </a:lvl3pPr>
            <a:lvl4pPr marL="1114273" indent="0">
              <a:buNone/>
              <a:defRPr sz="1625"/>
            </a:lvl4pPr>
            <a:lvl5pPr marL="1485697" indent="0">
              <a:buNone/>
              <a:defRPr sz="1625"/>
            </a:lvl5pPr>
            <a:lvl6pPr marL="1857122" indent="0">
              <a:buNone/>
              <a:defRPr sz="1625"/>
            </a:lvl6pPr>
            <a:lvl7pPr marL="2228545" indent="0">
              <a:buNone/>
              <a:defRPr sz="1625"/>
            </a:lvl7pPr>
            <a:lvl8pPr marL="2599970" indent="0">
              <a:buNone/>
              <a:defRPr sz="1625"/>
            </a:lvl8pPr>
            <a:lvl9pPr marL="2971393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0696357-0360-4CED-B2F0-88987C3D081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9313499"/>
      </p:ext>
    </p:extLst>
  </p:cSld>
  <p:clrMapOvr>
    <a:masterClrMapping/>
  </p:clrMapOvr>
  <p:transition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46E169A-33E1-4455-AD3A-A5A543A8F34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46883377"/>
      </p:ext>
    </p:extLst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/>
          <p:cNvSpPr txBox="1">
            <a:spLocks/>
          </p:cNvSpPr>
          <p:nvPr userDrawn="1"/>
        </p:nvSpPr>
        <p:spPr>
          <a:xfrm>
            <a:off x="9446818" y="6565903"/>
            <a:ext cx="23045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EDBEEA-E033-411C-9428-B5A9621A07B1}" type="slidenum">
              <a:rPr lang="en-US" sz="81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12" dirty="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25730" y="6463093"/>
            <a:ext cx="9253721" cy="395672"/>
          </a:xfrm>
          <a:prstGeom prst="rect">
            <a:avLst/>
          </a:prstGeom>
        </p:spPr>
        <p:txBody>
          <a:bodyPr lIns="93286" tIns="46643" rIns="93286" bIns="46643"/>
          <a:lstStyle>
            <a:lvl1pPr>
              <a:defRPr sz="569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13740742"/>
      </p:ext>
    </p:extLst>
  </p:cSld>
  <p:clrMapOvr>
    <a:masterClrMapping/>
  </p:clrMapOvr>
  <p:transition/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7" y="1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38D0B53-37A3-4D3B-A815-7AD587B7993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64681523"/>
      </p:ext>
    </p:extLst>
  </p:cSld>
  <p:clrMapOvr>
    <a:masterClrMapping/>
  </p:clrMapOvr>
  <p:transition/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A534A42-392B-4161-98B8-50AB3B3A148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33576901"/>
      </p:ext>
    </p:extLst>
  </p:cSld>
  <p:clrMapOvr>
    <a:masterClrMapping/>
  </p:clrMapOvr>
  <p:transition/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098694E-307F-40A3-BF55-353AB5F39926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19554511"/>
      </p:ext>
    </p:extLst>
  </p:cSld>
  <p:clrMapOvr>
    <a:masterClrMapping/>
  </p:clrMapOvr>
  <p:transition/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/>
          <p:cNvSpPr txBox="1">
            <a:spLocks/>
          </p:cNvSpPr>
          <p:nvPr userDrawn="1"/>
        </p:nvSpPr>
        <p:spPr>
          <a:xfrm>
            <a:off x="9446818" y="6565903"/>
            <a:ext cx="230452" cy="155575"/>
          </a:xfrm>
          <a:prstGeom prst="rect">
            <a:avLst/>
          </a:prstGeom>
        </p:spPr>
        <p:txBody>
          <a:bodyPr wrap="none" lIns="0" tIns="0" rIns="0" bIns="0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DB0F3B4D-CDF6-4BDF-A57E-7A80C3487D89}" type="slidenum">
              <a:rPr lang="en-US" sz="81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812" smtClean="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25730" y="6463093"/>
            <a:ext cx="9253721" cy="395672"/>
          </a:xfrm>
          <a:prstGeom prst="rect">
            <a:avLst/>
          </a:prstGeom>
        </p:spPr>
        <p:txBody>
          <a:bodyPr lIns="93286" tIns="46643" rIns="93286" bIns="46643"/>
          <a:lstStyle>
            <a:lvl1pPr>
              <a:defRPr sz="569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671262930"/>
      </p:ext>
    </p:extLst>
  </p:cSld>
  <p:clrMapOvr>
    <a:masterClrMapping/>
  </p:clrMapOvr>
  <p:transition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" y="3"/>
          <a:ext cx="175419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85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5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3"/>
                        <a:ext cx="175419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/>
        </p:nvSpPr>
        <p:spPr bwMode="auto">
          <a:xfrm rot="5400000">
            <a:off x="9047949" y="1989759"/>
            <a:ext cx="1561325" cy="749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87" dirty="0" smtClean="0">
                <a:solidFill>
                  <a:srgbClr val="000000"/>
                </a:solidFill>
                <a:cs typeface="Arial" charset="0"/>
              </a:rPr>
              <a:t>Last Modified 25.04.2014 19:06 Russian Standard Time</a:t>
            </a:r>
            <a:endParaRPr lang="ru-RU" sz="13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/>
        </p:nvSpPr>
        <p:spPr bwMode="auto">
          <a:xfrm rot="5400000">
            <a:off x="9135311" y="4208291"/>
            <a:ext cx="1386598" cy="7495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487" dirty="0" smtClean="0">
                <a:solidFill>
                  <a:srgbClr val="000000"/>
                </a:solidFill>
                <a:cs typeface="Arial" charset="0"/>
              </a:rPr>
              <a:t>Printed 24.04.2014 20:59 Russian Standard Time</a:t>
            </a:r>
            <a:endParaRPr lang="ru-RU" sz="1300" dirty="0" smtClean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41025" y="26990"/>
            <a:ext cx="700513" cy="17498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1137" smtClean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32424" y="946152"/>
            <a:ext cx="9525926" cy="20005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300" dirty="0" smtClean="0">
                <a:solidFill>
                  <a:srgbClr val="808080"/>
                </a:solidFill>
                <a:cs typeface="Arial" charset="0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/>
        </p:nvSpPr>
        <p:spPr bwMode="auto">
          <a:xfrm>
            <a:off x="132426" y="6296469"/>
            <a:ext cx="9448535" cy="12497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812" dirty="0" smtClean="0">
                <a:solidFill>
                  <a:srgbClr val="000000"/>
                </a:solidFill>
                <a:latin typeface="Arial"/>
                <a:cs typeface="Arial" charset="0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/>
        </p:nvSpPr>
        <p:spPr bwMode="auto">
          <a:xfrm>
            <a:off x="132424" y="6580189"/>
            <a:ext cx="7586001" cy="12497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609600" indent="-609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895350" eaLnBrk="0" hangingPunct="0"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tabLst>
                <a:tab pos="612775" algn="l"/>
              </a:tabLst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ru-RU" altLang="ru-RU" sz="812" smtClean="0">
                <a:solidFill>
                  <a:srgbClr val="000000"/>
                </a:solidFill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/>
        </p:nvGrpSpPr>
        <p:grpSpPr bwMode="auto">
          <a:xfrm>
            <a:off x="1606287" y="1249640"/>
            <a:ext cx="4712229" cy="418824"/>
            <a:chOff x="915" y="771"/>
            <a:chExt cx="2686" cy="259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771"/>
              <a:ext cx="2686" cy="25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cs typeface="Arial" panose="020B0604020202020204" pitchFamily="34" charset="0"/>
                </a:defRPr>
              </a:lvl9pPr>
            </a:lstStyle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300" b="1" smtClean="0">
                  <a:solidFill>
                    <a:srgbClr val="000000"/>
                  </a:solidFill>
                </a:rPr>
                <a:t>Title</a:t>
              </a:r>
            </a:p>
            <a:p>
              <a:pPr eaLnBrk="1" fontAlgn="base" hangingPunct="1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ru-RU" altLang="ru-RU" sz="1300" smtClean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 userDrawn="1"/>
        </p:nvSpPr>
        <p:spPr bwMode="auto">
          <a:xfrm>
            <a:off x="132425" y="6454775"/>
            <a:ext cx="9630833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4279" tIns="75788" rIns="74279" bIns="7578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2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4" name="Line 16"/>
          <p:cNvSpPr>
            <a:spLocks noChangeShapeType="1"/>
          </p:cNvSpPr>
          <p:nvPr userDrawn="1"/>
        </p:nvSpPr>
        <p:spPr bwMode="auto">
          <a:xfrm>
            <a:off x="141024" y="901700"/>
            <a:ext cx="9623954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74279" tIns="75788" rIns="74279" bIns="75788" anchor="ctr"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462" dirty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0367" y="42864"/>
            <a:ext cx="980281" cy="801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Slide Number"/>
          <p:cNvSpPr txBox="1">
            <a:spLocks/>
          </p:cNvSpPr>
          <p:nvPr userDrawn="1"/>
        </p:nvSpPr>
        <p:spPr bwMode="auto">
          <a:xfrm>
            <a:off x="9446818" y="6565903"/>
            <a:ext cx="23045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16492E7A-3CF7-4502-B065-094F233B80DF}" type="slidenum">
              <a:rPr lang="en-US" altLang="ru-RU" sz="812" smtClean="0">
                <a:solidFill>
                  <a:srgbClr val="000000"/>
                </a:solidFill>
                <a:cs typeface="Arial" panose="020B0604020202020204" pitchFamily="34" charset="0"/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altLang="ru-RU" sz="812" smtClean="0">
              <a:solidFill>
                <a:srgbClr val="000000"/>
              </a:solidFill>
              <a:cs typeface="Arial" panose="020B0604020202020204" pitchFamily="34" charset="0"/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5" y="301945"/>
            <a:ext cx="8684944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9481497"/>
      </p:ext>
    </p:extLst>
  </p:cSld>
  <p:clrMapOvr>
    <a:masterClrMapping/>
  </p:clrMapOvr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8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85826971"/>
      </p:ext>
    </p:extLst>
  </p:cSld>
  <p:clrMapOvr>
    <a:masterClrMapping/>
  </p:clrMapOvr>
  <p:transition>
    <p:fade/>
  </p:transition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C43CB7-DB2A-4C23-9CBB-6925696F005A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4401369"/>
      </p:ext>
    </p:extLst>
  </p:cSld>
  <p:clrMapOvr>
    <a:masterClrMapping/>
  </p:clrMapOvr>
  <p:transition/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8F670D3-CCE4-4F47-BDFB-83C4F0284D3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6429181"/>
      </p:ext>
    </p:extLst>
  </p:cSld>
  <p:clrMapOvr>
    <a:masterClrMapping/>
  </p:clrMapOvr>
  <p:transition/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9E79AA8-474D-4D95-A2B9-315A26DD8C9B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4082054"/>
      </p:ext>
    </p:extLst>
  </p:cSld>
  <p:clrMapOvr>
    <a:masterClrMapping/>
  </p:clrMapOvr>
  <p:transition/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BB3D948-125C-40DF-9930-C32563E09BC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437338"/>
      </p:ext>
    </p:extLst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89631611"/>
      </p:ext>
    </p:extLst>
  </p:cSld>
  <p:clrMapOvr>
    <a:masterClrMapping/>
  </p:clrMapOvr>
  <p:transition>
    <p:fade/>
  </p:transition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221D711-0BFB-459B-A3C3-85F05C1A2C2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4018267"/>
      </p:ext>
    </p:extLst>
  </p:cSld>
  <p:clrMapOvr>
    <a:masterClrMapping/>
  </p:clrMapOvr>
  <p:transition/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FB5E93-B071-4C71-B566-C23DBB2E884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7012602"/>
      </p:ext>
    </p:extLst>
  </p:cSld>
  <p:clrMapOvr>
    <a:masterClrMapping/>
  </p:clrMapOvr>
  <p:transition/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6A4319A-7D12-476E-8290-B4600435E41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972810"/>
      </p:ext>
    </p:extLst>
  </p:cSld>
  <p:clrMapOvr>
    <a:masterClrMapping/>
  </p:clrMapOvr>
  <p:transition/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EC372A0-48FE-4A3C-914F-BA28BD75E41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80208786"/>
      </p:ext>
    </p:extLst>
  </p:cSld>
  <p:clrMapOvr>
    <a:masterClrMapping/>
  </p:clrMapOvr>
  <p:transition/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2B0C099-6956-43E4-B4DF-2A8DE5D8FCB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5963807"/>
      </p:ext>
    </p:extLst>
  </p:cSld>
  <p:clrMapOvr>
    <a:masterClrMapping/>
  </p:clrMapOvr>
  <p:transition/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BF714EA-A5F3-4B1B-B65C-00B00EA5620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9246949"/>
      </p:ext>
    </p:extLst>
  </p:cSld>
  <p:clrMapOvr>
    <a:masterClrMapping/>
  </p:clrMapOvr>
  <p:transition/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464" indent="0" algn="ctr">
              <a:buNone/>
              <a:defRPr/>
            </a:lvl2pPr>
            <a:lvl3pPr marL="742927" indent="0" algn="ctr">
              <a:buNone/>
              <a:defRPr/>
            </a:lvl3pPr>
            <a:lvl4pPr marL="1114391" indent="0" algn="ctr">
              <a:buNone/>
              <a:defRPr/>
            </a:lvl4pPr>
            <a:lvl5pPr marL="1485854" indent="0" algn="ctr">
              <a:buNone/>
              <a:defRPr/>
            </a:lvl5pPr>
            <a:lvl6pPr marL="1857318" indent="0" algn="ctr">
              <a:buNone/>
              <a:defRPr/>
            </a:lvl6pPr>
            <a:lvl7pPr marL="2228781" indent="0" algn="ctr">
              <a:buNone/>
              <a:defRPr/>
            </a:lvl7pPr>
            <a:lvl8pPr marL="2600245" indent="0" algn="ctr">
              <a:buNone/>
              <a:defRPr/>
            </a:lvl8pPr>
            <a:lvl9pPr marL="297170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DEEF597-7F97-4480-A843-75EAA7CCBB9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838251147"/>
      </p:ext>
    </p:extLst>
  </p:cSld>
  <p:clrMapOvr>
    <a:masterClrMapping/>
  </p:clrMapOvr>
  <p:transition/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AD5F65-E596-4821-8DCD-87DC96CD191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57311666"/>
      </p:ext>
    </p:extLst>
  </p:cSld>
  <p:clrMapOvr>
    <a:masterClrMapping/>
  </p:clrMapOvr>
  <p:transition/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3594E19-05F3-4FA0-AFF1-E220FBFC9DC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91150951"/>
      </p:ext>
    </p:extLst>
  </p:cSld>
  <p:clrMapOvr>
    <a:masterClrMapping/>
  </p:clrMapOvr>
  <p:transition/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930FFA-9EA8-4C9B-B3C3-0764ACFE933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976776530"/>
      </p:ext>
    </p:extLst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00C0C2A-0CE7-654E-B369-893DF415B4A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6536438"/>
      </p:ext>
    </p:extLst>
  </p:cSld>
  <p:clrMapOvr>
    <a:masterClrMapping/>
  </p:clrMapOvr>
  <p:transition/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F86E33A-F6E2-4CB3-8D4F-406BEA8FBB5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407211177"/>
      </p:ext>
    </p:extLst>
  </p:cSld>
  <p:clrMapOvr>
    <a:masterClrMapping/>
  </p:clrMapOvr>
  <p:transition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A985E49-E223-4413-AC12-422490D3084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918794809"/>
      </p:ext>
    </p:extLst>
  </p:cSld>
  <p:clrMapOvr>
    <a:masterClrMapping/>
  </p:clrMapOvr>
  <p:transition/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5C5810-B785-4447-A0F2-833D742F4C8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15205590"/>
      </p:ext>
    </p:extLst>
  </p:cSld>
  <p:clrMapOvr>
    <a:masterClrMapping/>
  </p:clrMapOvr>
  <p:transition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9C29C7-1474-49ED-AF65-388813528D2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4438859"/>
      </p:ext>
    </p:extLst>
  </p:cSld>
  <p:clrMapOvr>
    <a:masterClrMapping/>
  </p:clrMapOvr>
  <p:transition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C7886F7-14E5-4642-AA77-DF96E6BF7DEB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66939495"/>
      </p:ext>
    </p:extLst>
  </p:cSld>
  <p:clrMapOvr>
    <a:masterClrMapping/>
  </p:clrMapOvr>
  <p:transition/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3AF67D2-82B3-4E86-AC78-B6765847294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05955482"/>
      </p:ext>
    </p:extLst>
  </p:cSld>
  <p:clrMapOvr>
    <a:masterClrMapping/>
  </p:clrMapOvr>
  <p:transition/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1DB81B-41DB-40EA-9CFA-33AE4650DFE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492314718"/>
      </p:ext>
    </p:extLst>
  </p:cSld>
  <p:clrMapOvr>
    <a:masterClrMapping/>
  </p:clrMapOvr>
  <p:transition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B485FB1-D59D-4B47-AA9C-499265E2290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05181366"/>
      </p:ext>
    </p:extLst>
  </p:cSld>
  <p:clrMapOvr>
    <a:masterClrMapping/>
  </p:clrMapOvr>
  <p:transition/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3353C2A-8C6F-441A-8E00-CA1A76F4BFA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899146955"/>
      </p:ext>
    </p:extLst>
  </p:cSld>
  <p:clrMapOvr>
    <a:masterClrMapping/>
  </p:clrMapOvr>
  <p:transition/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9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739976897"/>
      </p:ext>
    </p:extLst>
  </p:cSld>
  <p:clrMapOvr>
    <a:masterClrMapping/>
  </p:clrMapOvr>
  <p:transition>
    <p:fade/>
  </p:transition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D34CED-2824-D74B-9DFD-E7CC32085C2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79973979"/>
      </p:ext>
    </p:extLst>
  </p:cSld>
  <p:clrMapOvr>
    <a:masterClrMapping/>
  </p:clrMapOvr>
  <p:transition/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90083581"/>
      </p:ext>
    </p:extLst>
  </p:cSld>
  <p:clrMapOvr>
    <a:masterClrMapping/>
  </p:clrMapOvr>
  <p:transition/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4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025685"/>
      </p:ext>
    </p:extLst>
  </p:cSld>
  <p:clrMapOvr>
    <a:masterClrMapping/>
  </p:clrMapOvr>
  <p:transition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3698626"/>
      </p:ext>
    </p:extLst>
  </p:cSld>
  <p:clrMapOvr>
    <a:masterClrMapping/>
  </p:clrMapOvr>
  <p:transition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979433"/>
      </p:ext>
    </p:extLst>
  </p:cSld>
  <p:clrMapOvr>
    <a:masterClrMapping/>
  </p:clrMapOvr>
  <p:transition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5990492"/>
      </p:ext>
    </p:extLst>
  </p:cSld>
  <p:clrMapOvr>
    <a:masterClrMapping/>
  </p:clrMapOvr>
  <p:transition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7091318"/>
      </p:ext>
    </p:extLst>
  </p:cSld>
  <p:clrMapOvr>
    <a:masterClrMapping/>
  </p:clrMapOvr>
  <p:transition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4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37022293"/>
      </p:ext>
    </p:extLst>
  </p:cSld>
  <p:clrMapOvr>
    <a:masterClrMapping/>
  </p:clrMapOvr>
  <p:transition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9925916"/>
      </p:ext>
    </p:extLst>
  </p:cSld>
  <p:clrMapOvr>
    <a:masterClrMapping/>
  </p:clrMapOvr>
  <p:transition/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967993"/>
      </p:ext>
    </p:extLst>
  </p:cSld>
  <p:clrMapOvr>
    <a:masterClrMapping/>
  </p:clrMapOvr>
  <p:transition/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1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2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05939948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EBC6261-8784-4175-B0D1-639E4FB629CB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9279575"/>
      </p:ext>
    </p:extLst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0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D35289-215D-744A-9923-A1CDF003805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4478231"/>
      </p:ext>
    </p:extLst>
  </p:cSld>
  <p:clrMapOvr>
    <a:masterClrMapping/>
  </p:clrMapOvr>
  <p:transition/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9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321577422"/>
      </p:ext>
    </p:extLst>
  </p:cSld>
  <p:clrMapOvr>
    <a:masterClrMapping/>
  </p:clrMapOvr>
  <p:transition>
    <p:fade/>
  </p:transition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5466263"/>
      </p:ext>
    </p:extLst>
  </p:cSld>
  <p:clrMapOvr>
    <a:masterClrMapping/>
  </p:clrMapOvr>
  <p:transition/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4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607587"/>
      </p:ext>
    </p:extLst>
  </p:cSld>
  <p:clrMapOvr>
    <a:masterClrMapping/>
  </p:clrMapOvr>
  <p:transition/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7394971"/>
      </p:ext>
    </p:extLst>
  </p:cSld>
  <p:clrMapOvr>
    <a:masterClrMapping/>
  </p:clrMapOvr>
  <p:transition/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5223651"/>
      </p:ext>
    </p:extLst>
  </p:cSld>
  <p:clrMapOvr>
    <a:masterClrMapping/>
  </p:clrMapOvr>
  <p:transition/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2685420"/>
      </p:ext>
    </p:extLst>
  </p:cSld>
  <p:clrMapOvr>
    <a:masterClrMapping/>
  </p:clrMapOvr>
  <p:transition/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243274"/>
      </p:ext>
    </p:extLst>
  </p:cSld>
  <p:clrMapOvr>
    <a:masterClrMapping/>
  </p:clrMapOvr>
  <p:transition/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4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4264759"/>
      </p:ext>
    </p:extLst>
  </p:cSld>
  <p:clrMapOvr>
    <a:masterClrMapping/>
  </p:clrMapOvr>
  <p:transition/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808203"/>
      </p:ext>
    </p:extLst>
  </p:cSld>
  <p:clrMapOvr>
    <a:masterClrMapping/>
  </p:clrMapOvr>
  <p:transition/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2126492"/>
      </p:ext>
    </p:extLst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D71DCC-1440-2848-84C9-625F500DDFF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503746"/>
      </p:ext>
    </p:extLst>
  </p:cSld>
  <p:clrMapOvr>
    <a:masterClrMapping/>
  </p:clrMapOvr>
  <p:transition/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1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2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816140"/>
      </p:ext>
    </p:extLst>
  </p:cSld>
  <p:clrMapOvr>
    <a:masterClrMapping/>
  </p:clrMapOvr>
  <p:transition/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4" cy="1138773"/>
          </a:xfrm>
        </p:spPr>
        <p:txBody>
          <a:bodyPr/>
          <a:lstStyle>
            <a:lvl1pPr marL="233455" indent="-233455">
              <a:buFont typeface="+mj-lt"/>
              <a:buAutoNum type="arabicPeriod"/>
              <a:defRPr/>
            </a:lvl1pPr>
            <a:lvl2pPr marL="467986" indent="-233993">
              <a:buSzPct val="75000"/>
              <a:buFont typeface="Wingdings" pitchFamily="2" charset="2"/>
              <a:buChar char="p"/>
              <a:defRPr lang="ru-RU" sz="1787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00151" indent="-232165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462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6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B5EA9884-C4FC-469A-9352-1B976D5D930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890361"/>
      </p:ext>
    </p:extLst>
  </p:cSld>
  <p:clrMapOvr>
    <a:masterClrMapping/>
  </p:clrMapOvr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181229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59922715"/>
      </p:ext>
    </p:extLst>
  </p:cSld>
  <p:clrMapOvr>
    <a:masterClrMapping/>
  </p:clrMapOvr>
  <p:transition>
    <p:fade/>
  </p:transition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080170"/>
      </p:ext>
    </p:extLst>
  </p:cSld>
  <p:clrMapOvr>
    <a:masterClrMapping/>
  </p:clrMapOvr>
  <p:transition/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4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8232021"/>
      </p:ext>
    </p:extLst>
  </p:cSld>
  <p:clrMapOvr>
    <a:masterClrMapping/>
  </p:clrMapOvr>
  <p:transition/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4058163"/>
      </p:ext>
    </p:extLst>
  </p:cSld>
  <p:clrMapOvr>
    <a:masterClrMapping/>
  </p:clrMapOvr>
  <p:transition/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881701"/>
      </p:ext>
    </p:extLst>
  </p:cSld>
  <p:clrMapOvr>
    <a:masterClrMapping/>
  </p:clrMapOvr>
  <p:transition/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714314"/>
      </p:ext>
    </p:extLst>
  </p:cSld>
  <p:clrMapOvr>
    <a:masterClrMapping/>
  </p:clrMapOvr>
  <p:transition/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21320102"/>
      </p:ext>
    </p:extLst>
  </p:cSld>
  <p:clrMapOvr>
    <a:masterClrMapping/>
  </p:clrMapOvr>
  <p:transition/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4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779347"/>
      </p:ext>
    </p:extLst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9527CA-2ED7-724C-836C-C0392877730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7383225"/>
      </p:ext>
    </p:extLst>
  </p:cSld>
  <p:clrMapOvr>
    <a:masterClrMapping/>
  </p:clrMapOvr>
  <p:transition/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530515"/>
      </p:ext>
    </p:extLst>
  </p:cSld>
  <p:clrMapOvr>
    <a:masterClrMapping/>
  </p:clrMapOvr>
  <p:transition/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8990645"/>
      </p:ext>
    </p:extLst>
  </p:cSld>
  <p:clrMapOvr>
    <a:masterClrMapping/>
  </p:clrMapOvr>
  <p:transition/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1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2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1629632"/>
      </p:ext>
    </p:extLst>
  </p:cSld>
  <p:clrMapOvr>
    <a:masterClrMapping/>
  </p:clrMapOvr>
  <p:transition/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7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6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87578862"/>
      </p:ext>
    </p:extLst>
  </p:cSld>
  <p:clrMapOvr>
    <a:masterClrMapping/>
  </p:clrMapOvr>
  <p:transition>
    <p:fade/>
  </p:transition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4804281"/>
      </p:ext>
    </p:extLst>
  </p:cSld>
  <p:clrMapOvr>
    <a:masterClrMapping/>
  </p:clrMapOvr>
  <p:transition/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71412913"/>
      </p:ext>
    </p:extLst>
  </p:cSld>
  <p:clrMapOvr>
    <a:masterClrMapping/>
  </p:clrMapOvr>
  <p:transition/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9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1330503"/>
      </p:ext>
    </p:extLst>
  </p:cSld>
  <p:clrMapOvr>
    <a:masterClrMapping/>
  </p:clrMapOvr>
  <p:transition/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832274"/>
      </p:ext>
    </p:extLst>
  </p:cSld>
  <p:clrMapOvr>
    <a:masterClrMapping/>
  </p:clrMapOvr>
  <p:transition/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551994"/>
      </p:ext>
    </p:extLst>
  </p:cSld>
  <p:clrMapOvr>
    <a:masterClrMapping/>
  </p:clrMapOvr>
  <p:transition/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6540052"/>
      </p:ext>
    </p:extLst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4E51CAE-1BBC-B14D-A3A9-4A3565F54C9F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9724679"/>
      </p:ext>
    </p:extLst>
  </p:cSld>
  <p:clrMapOvr>
    <a:masterClrMapping/>
  </p:clrMapOvr>
  <p:transition/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9705800"/>
      </p:ext>
    </p:extLst>
  </p:cSld>
  <p:clrMapOvr>
    <a:masterClrMapping/>
  </p:clrMapOvr>
  <p:transition/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71294230"/>
      </p:ext>
    </p:extLst>
  </p:cSld>
  <p:clrMapOvr>
    <a:masterClrMapping/>
  </p:clrMapOvr>
  <p:transition/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5357874"/>
      </p:ext>
    </p:extLst>
  </p:cSld>
  <p:clrMapOvr>
    <a:masterClrMapping/>
  </p:clrMapOvr>
  <p:transition/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816810"/>
      </p:ext>
    </p:extLst>
  </p:cSld>
  <p:clrMapOvr>
    <a:masterClrMapping/>
  </p:clrMapOvr>
  <p:transition/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63456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85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152" indent="0" algn="ctr">
              <a:buNone/>
              <a:defRPr/>
            </a:lvl2pPr>
            <a:lvl3pPr marL="914303" indent="0" algn="ctr">
              <a:buNone/>
              <a:defRPr/>
            </a:lvl3pPr>
            <a:lvl4pPr marL="1371455" indent="0" algn="ctr">
              <a:buNone/>
              <a:defRPr/>
            </a:lvl4pPr>
            <a:lvl5pPr marL="1828606" indent="0" algn="ctr">
              <a:buNone/>
              <a:defRPr/>
            </a:lvl5pPr>
            <a:lvl6pPr marL="2285758" indent="0" algn="ctr">
              <a:buNone/>
              <a:defRPr/>
            </a:lvl6pPr>
            <a:lvl7pPr marL="2742909" indent="0" algn="ctr">
              <a:buNone/>
              <a:defRPr/>
            </a:lvl7pPr>
            <a:lvl8pPr marL="3200061" indent="0" algn="ctr">
              <a:buNone/>
              <a:defRPr/>
            </a:lvl8pPr>
            <a:lvl9pPr marL="3657212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5E393-3239-4954-8F61-97F412A3F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6600184"/>
      </p:ext>
    </p:extLst>
  </p:cSld>
  <p:clrMapOvr>
    <a:masterClrMapping/>
  </p:clrMapOvr>
  <p:transition/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F3375-148A-4F26-ABB5-7658FFA606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742038"/>
      </p:ext>
    </p:extLst>
  </p:cSld>
  <p:clrMapOvr>
    <a:masterClrMapping/>
  </p:clrMapOvr>
  <p:transition/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5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152" indent="0">
              <a:buNone/>
              <a:defRPr sz="1800"/>
            </a:lvl2pPr>
            <a:lvl3pPr marL="914303" indent="0">
              <a:buNone/>
              <a:defRPr sz="1600"/>
            </a:lvl3pPr>
            <a:lvl4pPr marL="1371455" indent="0">
              <a:buNone/>
              <a:defRPr sz="1400"/>
            </a:lvl4pPr>
            <a:lvl5pPr marL="1828606" indent="0">
              <a:buNone/>
              <a:defRPr sz="1400"/>
            </a:lvl5pPr>
            <a:lvl6pPr marL="2285758" indent="0">
              <a:buNone/>
              <a:defRPr sz="1400"/>
            </a:lvl6pPr>
            <a:lvl7pPr marL="2742909" indent="0">
              <a:buNone/>
              <a:defRPr sz="1400"/>
            </a:lvl7pPr>
            <a:lvl8pPr marL="3200061" indent="0">
              <a:buNone/>
              <a:defRPr sz="1400"/>
            </a:lvl8pPr>
            <a:lvl9pPr marL="3657212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42D76-09F1-4EC7-8D26-B175185D2CD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85083522"/>
      </p:ext>
    </p:extLst>
  </p:cSld>
  <p:clrMapOvr>
    <a:masterClrMapping/>
  </p:clrMapOvr>
  <p:transition/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2" y="1125539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9" y="1125539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10C8E1-ADF0-4023-9D41-28961BF287D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1954807"/>
      </p:ext>
    </p:extLst>
  </p:cSld>
  <p:clrMapOvr>
    <a:masterClrMapping/>
  </p:clrMapOvr>
  <p:transition/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1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1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52" indent="0">
              <a:buNone/>
              <a:defRPr sz="2000" b="1"/>
            </a:lvl2pPr>
            <a:lvl3pPr marL="914303" indent="0">
              <a:buNone/>
              <a:defRPr sz="1800" b="1"/>
            </a:lvl3pPr>
            <a:lvl4pPr marL="1371455" indent="0">
              <a:buNone/>
              <a:defRPr sz="1600" b="1"/>
            </a:lvl4pPr>
            <a:lvl5pPr marL="1828606" indent="0">
              <a:buNone/>
              <a:defRPr sz="1600" b="1"/>
            </a:lvl5pPr>
            <a:lvl6pPr marL="2285758" indent="0">
              <a:buNone/>
              <a:defRPr sz="1600" b="1"/>
            </a:lvl6pPr>
            <a:lvl7pPr marL="2742909" indent="0">
              <a:buNone/>
              <a:defRPr sz="1600" b="1"/>
            </a:lvl7pPr>
            <a:lvl8pPr marL="3200061" indent="0">
              <a:buNone/>
              <a:defRPr sz="1600" b="1"/>
            </a:lvl8pPr>
            <a:lvl9pPr marL="3657212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84A5F-0936-4AF9-B8A5-3BFE0618429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3747988"/>
      </p:ext>
    </p:extLst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7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2F5DF9-765E-1948-8822-656AD6B0D62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026751"/>
      </p:ext>
    </p:extLst>
  </p:cSld>
  <p:clrMapOvr>
    <a:masterClrMapping/>
  </p:clrMapOvr>
  <p:transition/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3D998-F6D4-4517-90DE-1869ECC309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298134"/>
      </p:ext>
    </p:extLst>
  </p:cSld>
  <p:clrMapOvr>
    <a:masterClrMapping/>
  </p:clrMapOvr>
  <p:transition/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213EC-A4FD-44B2-B14C-42B1E3FD709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47734535"/>
      </p:ext>
    </p:extLst>
  </p:cSld>
  <p:clrMapOvr>
    <a:masterClrMapping/>
  </p:clrMapOvr>
  <p:transition/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4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9C498-7EE5-4812-B797-D3709710132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3918740"/>
      </p:ext>
    </p:extLst>
  </p:cSld>
  <p:clrMapOvr>
    <a:masterClrMapping/>
  </p:clrMapOvr>
  <p:transition/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152" indent="0">
              <a:buNone/>
              <a:defRPr sz="2800"/>
            </a:lvl2pPr>
            <a:lvl3pPr marL="914303" indent="0">
              <a:buNone/>
              <a:defRPr sz="2400"/>
            </a:lvl3pPr>
            <a:lvl4pPr marL="1371455" indent="0">
              <a:buNone/>
              <a:defRPr sz="2000"/>
            </a:lvl4pPr>
            <a:lvl5pPr marL="1828606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152" indent="0">
              <a:buNone/>
              <a:defRPr sz="1200"/>
            </a:lvl2pPr>
            <a:lvl3pPr marL="914303" indent="0">
              <a:buNone/>
              <a:defRPr sz="1000"/>
            </a:lvl3pPr>
            <a:lvl4pPr marL="1371455" indent="0">
              <a:buNone/>
              <a:defRPr sz="900"/>
            </a:lvl4pPr>
            <a:lvl5pPr marL="1828606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0F0F6-CCC6-4BCE-AEF3-550AD85CF0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97372756"/>
      </p:ext>
    </p:extLst>
  </p:cSld>
  <p:clrMapOvr>
    <a:masterClrMapping/>
  </p:clrMapOvr>
  <p:transition/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042E5-1C8C-45DE-A6AF-7287B132F4F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3649680"/>
      </p:ext>
    </p:extLst>
  </p:cSld>
  <p:clrMapOvr>
    <a:masterClrMapping/>
  </p:clrMapOvr>
  <p:transition/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6" y="1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A6B0E-062E-4164-B20E-0679A7FC19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6868933"/>
      </p:ext>
    </p:extLst>
  </p:cSld>
  <p:clrMapOvr>
    <a:masterClrMapping/>
  </p:clrMapOvr>
  <p:transition/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39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EFFED-B480-4D39-AB5C-F6DD31B8F0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0249160"/>
      </p:ext>
    </p:extLst>
  </p:cSld>
  <p:clrMapOvr>
    <a:masterClrMapping/>
  </p:clrMapOvr>
  <p:transition/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39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13277A-123E-49FC-9E7F-D247C27F788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413733"/>
      </p:ext>
    </p:extLst>
  </p:cSld>
  <p:clrMapOvr>
    <a:masterClrMapping/>
  </p:clrMapOvr>
  <p:transition/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/>
          <p:cNvSpPr txBox="1">
            <a:spLocks/>
          </p:cNvSpPr>
          <p:nvPr userDrawn="1"/>
        </p:nvSpPr>
        <p:spPr>
          <a:xfrm>
            <a:off x="9446817" y="6565901"/>
            <a:ext cx="23045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EDBEEA-E033-411C-9428-B5A9621A07B1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25729" y="6463093"/>
            <a:ext cx="9253721" cy="395672"/>
          </a:xfrm>
          <a:prstGeom prst="rect">
            <a:avLst/>
          </a:prstGeom>
        </p:spPr>
        <p:txBody>
          <a:bodyPr lIns="93286" tIns="46643" rIns="93286" bIns="46643"/>
          <a:lstStyle>
            <a:lvl1pPr>
              <a:defRPr sz="700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1860827"/>
      </p:ext>
    </p:extLst>
  </p:cSld>
  <p:clrMapOvr>
    <a:masterClrMapping/>
  </p:clrMapOvr>
  <p:transition/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6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E348D1E-04DF-4F90-8B27-BCC28883F352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360416744"/>
      </p:ext>
    </p:extLst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66CD82-670E-2248-B087-3A2AA3DA55B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536248"/>
      </p:ext>
    </p:extLst>
  </p:cSld>
  <p:clrMapOvr>
    <a:masterClrMapping/>
  </p:clrMapOvr>
  <p:transition/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D992565-D378-4580-9329-567F5A5A16E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56603921"/>
      </p:ext>
    </p:extLst>
  </p:cSld>
  <p:clrMapOvr>
    <a:masterClrMapping/>
  </p:clrMapOvr>
  <p:transition/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8ADD1F5-FAD9-4598-9AF4-4A3D414196D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1702971032"/>
      </p:ext>
    </p:extLst>
  </p:cSld>
  <p:clrMapOvr>
    <a:masterClrMapping/>
  </p:clrMapOvr>
  <p:transition/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D75F39C-A303-465C-93F8-9B1FD7678E13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876650236"/>
      </p:ext>
    </p:extLst>
  </p:cSld>
  <p:clrMapOvr>
    <a:masterClrMapping/>
  </p:clrMapOvr>
  <p:transition/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361852-40A8-4833-846A-69F528F8797D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679365349"/>
      </p:ext>
    </p:extLst>
  </p:cSld>
  <p:clrMapOvr>
    <a:masterClrMapping/>
  </p:clrMapOvr>
  <p:transition/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F91DF6B-2E55-4A0D-A82D-7F505AA3DCEF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955492837"/>
      </p:ext>
    </p:extLst>
  </p:cSld>
  <p:clrMapOvr>
    <a:masterClrMapping/>
  </p:clrMapOvr>
  <p:transition/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E0372C-B487-4757-9C50-01F2ECF0C114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123025286"/>
      </p:ext>
    </p:extLst>
  </p:cSld>
  <p:clrMapOvr>
    <a:masterClrMapping/>
  </p:clrMapOvr>
  <p:transition/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898F9A9-4A46-4FF7-A3E3-428D4767DEB8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0346846"/>
      </p:ext>
    </p:extLst>
  </p:cSld>
  <p:clrMapOvr>
    <a:masterClrMapping/>
  </p:clrMapOvr>
  <p:transition/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30B0685-6925-4184-B3A0-8C30C8345567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66307882"/>
      </p:ext>
    </p:extLst>
  </p:cSld>
  <p:clrMapOvr>
    <a:masterClrMapping/>
  </p:clrMapOvr>
  <p:transition/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5EE35891-DA09-4B39-9397-13B071A4F7DC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762896637"/>
      </p:ext>
    </p:extLst>
  </p:cSld>
  <p:clrMapOvr>
    <a:masterClrMapping/>
  </p:clrMapOvr>
  <p:transition/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D4B2D4-DE95-4D52-A263-F7BC05CC4B8E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2821870251"/>
      </p:ext>
    </p:extLst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82C00D1-F9DD-5848-9FDF-8864E11AD6B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9004313"/>
      </p:ext>
    </p:extLst>
  </p:cSld>
  <p:clrMapOvr>
    <a:masterClrMapping/>
  </p:clrMapOvr>
  <p:transition/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39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49901A4-EE8A-4600-ACCA-7452F6C68029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153275071"/>
      </p:ext>
    </p:extLst>
  </p:cSld>
  <p:clrMapOvr>
    <a:masterClrMapping/>
  </p:clrMapOvr>
  <p:transition/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39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DB76463-84A2-4779-873C-1A96F6154CD6}" type="slidenum">
              <a:rPr lang="ru-RU" altLang="ru-RU"/>
              <a:pPr/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464141206"/>
      </p:ext>
    </p:extLst>
  </p:cSld>
  <p:clrMapOvr>
    <a:masterClrMapping/>
  </p:clrMapOvr>
  <p:transition/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9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766257081"/>
      </p:ext>
    </p:extLst>
  </p:cSld>
  <p:clrMapOvr>
    <a:masterClrMapping/>
  </p:clrMapOvr>
  <p:transition>
    <p:fade/>
  </p:transition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1F9A7C3-15A7-4135-AE06-E0D6BACFB51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6435039"/>
      </p:ext>
    </p:extLst>
  </p:cSld>
  <p:clrMapOvr>
    <a:masterClrMapping/>
  </p:clrMapOvr>
  <p:transition/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C6A03F-E6CD-4463-ABC3-388CE3E0A42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9163588"/>
      </p:ext>
    </p:extLst>
  </p:cSld>
  <p:clrMapOvr>
    <a:masterClrMapping/>
  </p:clrMapOvr>
  <p:transition/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9DDA013-741B-4DE4-99B2-235233F1942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9100522"/>
      </p:ext>
    </p:extLst>
  </p:cSld>
  <p:clrMapOvr>
    <a:masterClrMapping/>
  </p:clrMapOvr>
  <p:transition/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8F5D13F-5B77-4635-A2BF-2482CB23CBC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6722372"/>
      </p:ext>
    </p:extLst>
  </p:cSld>
  <p:clrMapOvr>
    <a:masterClrMapping/>
  </p:clrMapOvr>
  <p:transition/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DE3DC94-06E3-42EA-969A-CA65D1F752D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8051490"/>
      </p:ext>
    </p:extLst>
  </p:cSld>
  <p:clrMapOvr>
    <a:masterClrMapping/>
  </p:clrMapOvr>
  <p:transition/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6A8013A-2E9E-4CBD-B5AF-574E746F168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1410712"/>
      </p:ext>
    </p:extLst>
  </p:cSld>
  <p:clrMapOvr>
    <a:masterClrMapping/>
  </p:clrMapOvr>
  <p:transition/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10357E0-B4EA-45FE-A96F-2B3CCD436D5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4158570"/>
      </p:ext>
    </p:extLst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3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6172CC-B4AB-E741-B2AE-495E1844833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5301167"/>
      </p:ext>
    </p:extLst>
  </p:cSld>
  <p:clrMapOvr>
    <a:masterClrMapping/>
  </p:clrMapOvr>
  <p:transition/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891A7E2-C425-45E1-978E-81B13D825AB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61692855"/>
      </p:ext>
    </p:extLst>
  </p:cSld>
  <p:clrMapOvr>
    <a:masterClrMapping/>
  </p:clrMapOvr>
  <p:transition/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41723-9CEF-463B-BC19-B00AB84507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6763972"/>
      </p:ext>
    </p:extLst>
  </p:cSld>
  <p:clrMapOvr>
    <a:masterClrMapping/>
  </p:clrMapOvr>
  <p:transition/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7132771-BB8A-4EF0-A91B-78517B0CD18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62912840"/>
      </p:ext>
    </p:extLst>
  </p:cSld>
  <p:clrMapOvr>
    <a:masterClrMapping/>
  </p:clrMapOvr>
  <p:transition/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7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6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648934505"/>
      </p:ext>
    </p:extLst>
  </p:cSld>
  <p:clrMapOvr>
    <a:masterClrMapping/>
  </p:clrMapOvr>
  <p:transition>
    <p:fade/>
  </p:transition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903224"/>
      </p:ext>
    </p:extLst>
  </p:cSld>
  <p:clrMapOvr>
    <a:masterClrMapping/>
  </p:clrMapOvr>
  <p:transition/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7272540"/>
      </p:ext>
    </p:extLst>
  </p:cSld>
  <p:clrMapOvr>
    <a:masterClrMapping/>
  </p:clrMapOvr>
  <p:transition/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9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680969"/>
      </p:ext>
    </p:extLst>
  </p:cSld>
  <p:clrMapOvr>
    <a:masterClrMapping/>
  </p:clrMapOvr>
  <p:transition/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5379694"/>
      </p:ext>
    </p:extLst>
  </p:cSld>
  <p:clrMapOvr>
    <a:masterClrMapping/>
  </p:clrMapOvr>
  <p:transition/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2097530"/>
      </p:ext>
    </p:extLst>
  </p:cSld>
  <p:clrMapOvr>
    <a:masterClrMapping/>
  </p:clrMapOvr>
  <p:transition/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7476688"/>
      </p:ext>
    </p:extLst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87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425" indent="0" algn="ctr">
              <a:buNone/>
              <a:defRPr/>
            </a:lvl2pPr>
            <a:lvl3pPr marL="742848" indent="0" algn="ctr">
              <a:buNone/>
              <a:defRPr/>
            </a:lvl3pPr>
            <a:lvl4pPr marL="1114273" indent="0" algn="ctr">
              <a:buNone/>
              <a:defRPr/>
            </a:lvl4pPr>
            <a:lvl5pPr marL="1485697" indent="0" algn="ctr">
              <a:buNone/>
              <a:defRPr/>
            </a:lvl5pPr>
            <a:lvl6pPr marL="1857122" indent="0" algn="ctr">
              <a:buNone/>
              <a:defRPr/>
            </a:lvl6pPr>
            <a:lvl7pPr marL="2228545" indent="0" algn="ctr">
              <a:buNone/>
              <a:defRPr/>
            </a:lvl7pPr>
            <a:lvl8pPr marL="2599970" indent="0" algn="ctr">
              <a:buNone/>
              <a:defRPr/>
            </a:lvl8pPr>
            <a:lvl9pPr marL="2971393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155E393-3239-4954-8F61-97F412A3F9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2810902"/>
      </p:ext>
    </p:extLst>
  </p:cSld>
  <p:clrMapOvr>
    <a:masterClrMapping/>
  </p:clrMapOvr>
  <p:transition/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9861539"/>
      </p:ext>
    </p:extLst>
  </p:cSld>
  <p:clrMapOvr>
    <a:masterClrMapping/>
  </p:clrMapOvr>
  <p:transition/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8302403"/>
      </p:ext>
    </p:extLst>
  </p:cSld>
  <p:clrMapOvr>
    <a:masterClrMapping/>
  </p:clrMapOvr>
  <p:transition/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3195103"/>
      </p:ext>
    </p:extLst>
  </p:cSld>
  <p:clrMapOvr>
    <a:masterClrMapping/>
  </p:clrMapOvr>
  <p:transition/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1724556"/>
      </p:ext>
    </p:extLst>
  </p:cSld>
  <p:clrMapOvr>
    <a:masterClrMapping/>
  </p:clrMapOvr>
  <p:transition/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3634769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1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2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56382100"/>
      </p:ext>
    </p:extLst>
  </p:cSld>
  <p:clrMapOvr>
    <a:masterClrMapping/>
  </p:clrMapOvr>
  <p:transition>
    <p:fade/>
  </p:transition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0578721"/>
      </p:ext>
    </p:extLst>
  </p:cSld>
  <p:clrMapOvr>
    <a:masterClrMapping/>
  </p:clrMapOvr>
  <p:transition/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5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58418051"/>
      </p:ext>
    </p:extLst>
  </p:cSld>
  <p:clrMapOvr>
    <a:masterClrMapping/>
  </p:clrMapOvr>
  <p:transition/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7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5927132"/>
      </p:ext>
    </p:extLst>
  </p:cSld>
  <p:clrMapOvr>
    <a:masterClrMapping/>
  </p:clrMapOvr>
  <p:transition/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2997183"/>
      </p:ext>
    </p:extLst>
  </p:cSld>
  <p:clrMapOvr>
    <a:masterClrMapping/>
  </p:clrMapOvr>
  <p:transition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4F3375-148A-4F26-ABB5-7658FFA606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1373454"/>
      </p:ext>
    </p:extLst>
  </p:cSld>
  <p:clrMapOvr>
    <a:masterClrMapping/>
  </p:clrMapOvr>
  <p:transition/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473415"/>
      </p:ext>
    </p:extLst>
  </p:cSld>
  <p:clrMapOvr>
    <a:masterClrMapping/>
  </p:clrMapOvr>
  <p:transition/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143359"/>
      </p:ext>
    </p:extLst>
  </p:cSld>
  <p:clrMapOvr>
    <a:masterClrMapping/>
  </p:clrMapOvr>
  <p:transition/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5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2" y="273077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5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1422596"/>
      </p:ext>
    </p:extLst>
  </p:cSld>
  <p:clrMapOvr>
    <a:masterClrMapping/>
  </p:clrMapOvr>
  <p:transition/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6400300"/>
      </p:ext>
    </p:extLst>
  </p:cSld>
  <p:clrMapOvr>
    <a:masterClrMapping/>
  </p:clrMapOvr>
  <p:transition/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9113046"/>
      </p:ext>
    </p:extLst>
  </p:cSld>
  <p:clrMapOvr>
    <a:masterClrMapping/>
  </p:clrMapOvr>
  <p:transition/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8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06859044"/>
      </p:ext>
    </p:extLst>
  </p:cSld>
  <p:clrMapOvr>
    <a:masterClrMapping/>
  </p:clrMapOvr>
  <p:transition/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39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6D66ED-D840-41FA-BCD1-C8301C63164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3630834"/>
      </p:ext>
    </p:extLst>
  </p:cSld>
  <p:clrMapOvr>
    <a:masterClrMapping/>
  </p:clrMapOvr>
  <p:transition/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71706934"/>
      </p:ext>
    </p:extLst>
  </p:cSld>
  <p:clrMapOvr>
    <a:masterClrMapping/>
  </p:clrMapOvr>
  <p:transition>
    <p:fade/>
  </p:transition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71ABD58-6CE3-43AB-9CCC-A6077DC081B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0696457"/>
      </p:ext>
    </p:extLst>
  </p:cSld>
  <p:clrMapOvr>
    <a:masterClrMapping/>
  </p:clrMapOvr>
  <p:transition/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00293F2-C150-4EA0-A097-53090CD47E1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9932761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1C7A086-8207-4EB0-B7D7-B01A4510EC1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5741566"/>
      </p:ext>
    </p:extLst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61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25" indent="0">
              <a:buNone/>
              <a:defRPr sz="1462"/>
            </a:lvl2pPr>
            <a:lvl3pPr marL="742848" indent="0">
              <a:buNone/>
              <a:defRPr sz="1300"/>
            </a:lvl3pPr>
            <a:lvl4pPr marL="1114273" indent="0">
              <a:buNone/>
              <a:defRPr sz="1137"/>
            </a:lvl4pPr>
            <a:lvl5pPr marL="1485697" indent="0">
              <a:buNone/>
              <a:defRPr sz="1137"/>
            </a:lvl5pPr>
            <a:lvl6pPr marL="1857122" indent="0">
              <a:buNone/>
              <a:defRPr sz="1137"/>
            </a:lvl6pPr>
            <a:lvl7pPr marL="2228545" indent="0">
              <a:buNone/>
              <a:defRPr sz="1137"/>
            </a:lvl7pPr>
            <a:lvl8pPr marL="2599970" indent="0">
              <a:buNone/>
              <a:defRPr sz="1137"/>
            </a:lvl8pPr>
            <a:lvl9pPr marL="2971393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642D76-09F1-4EC7-8D26-B175185D2CD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5811567"/>
      </p:ext>
    </p:extLst>
  </p:cSld>
  <p:clrMapOvr>
    <a:masterClrMapping/>
  </p:clrMapOvr>
  <p:transition/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259FEEE-6E54-4359-9E20-987386C21452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2377214"/>
      </p:ext>
    </p:extLst>
  </p:cSld>
  <p:clrMapOvr>
    <a:masterClrMapping/>
  </p:clrMapOvr>
  <p:transition/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4B5DD0-24FD-42EC-9118-3F2ED30DF99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4075697"/>
      </p:ext>
    </p:extLst>
  </p:cSld>
  <p:clrMapOvr>
    <a:masterClrMapping/>
  </p:clrMapOvr>
  <p:transition/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D76776F-79B1-4840-8569-944C2C969E2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9463434"/>
      </p:ext>
    </p:extLst>
  </p:cSld>
  <p:clrMapOvr>
    <a:masterClrMapping/>
  </p:clrMapOvr>
  <p:transition/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2F565CB-484F-491C-B2AF-DB437D8202E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1619912"/>
      </p:ext>
    </p:extLst>
  </p:cSld>
  <p:clrMapOvr>
    <a:masterClrMapping/>
  </p:clrMapOvr>
  <p:transition/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D5144F8-AEAB-4B1D-9C14-999B65C9653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4301001"/>
      </p:ext>
    </p:extLst>
  </p:cSld>
  <p:clrMapOvr>
    <a:masterClrMapping/>
  </p:clrMapOvr>
  <p:transition/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EEFD358-FDE6-4F89-A4E3-B32A8F9FFE9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8481878"/>
      </p:ext>
    </p:extLst>
  </p:cSld>
  <p:clrMapOvr>
    <a:masterClrMapping/>
  </p:clrMapOvr>
  <p:transition/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DCBB4D2-630B-4CA6-B2B7-7FDF9B2EBC5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350884"/>
      </p:ext>
    </p:extLst>
  </p:cSld>
  <p:clrMapOvr>
    <a:masterClrMapping/>
  </p:clrMapOvr>
  <p:transition/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8385407-B10A-4AEA-B4BC-AC99B6D5CA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7815632"/>
      </p:ext>
    </p:extLst>
  </p:cSld>
  <p:clrMapOvr>
    <a:masterClrMapping/>
  </p:clrMapOvr>
  <p:transition/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6">
              <a:lumMod val="20000"/>
              <a:lumOff val="80000"/>
              <a:alpha val="3098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  <p:sp>
        <p:nvSpPr>
          <p:cNvPr id="3" name="Прямоугольник 2"/>
          <p:cNvSpPr/>
          <p:nvPr userDrawn="1"/>
        </p:nvSpPr>
        <p:spPr>
          <a:xfrm>
            <a:off x="0" y="0"/>
            <a:ext cx="4953000" cy="685800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  <p:sp>
        <p:nvSpPr>
          <p:cNvPr id="4" name="Прямоугольник 3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7287" tIns="53643" rIns="107287" bIns="53643" anchor="ctr"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900400"/>
      </p:ext>
    </p:extLst>
  </p:cSld>
  <p:clrMapOvr>
    <a:masterClrMapping/>
  </p:clrMapOvr>
  <p:transition>
    <p:cut/>
  </p:transition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7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6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46512447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73" y="1125539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30" y="1125539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A10C8E1-ADF0-4023-9D41-28961BF287D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712778"/>
      </p:ext>
    </p:extLst>
  </p:cSld>
  <p:clrMapOvr>
    <a:masterClrMapping/>
  </p:clrMapOvr>
  <p:transition/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6254216"/>
      </p:ext>
    </p:extLst>
  </p:cSld>
  <p:clrMapOvr>
    <a:masterClrMapping/>
  </p:clrMapOvr>
  <p:transition/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622998"/>
      </p:ext>
    </p:extLst>
  </p:cSld>
  <p:clrMapOvr>
    <a:masterClrMapping/>
  </p:clrMapOvr>
  <p:transition/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9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46467"/>
      </p:ext>
    </p:extLst>
  </p:cSld>
  <p:clrMapOvr>
    <a:masterClrMapping/>
  </p:clrMapOvr>
  <p:transition/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323518"/>
      </p:ext>
    </p:extLst>
  </p:cSld>
  <p:clrMapOvr>
    <a:masterClrMapping/>
  </p:clrMapOvr>
  <p:transition/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6680352"/>
      </p:ext>
    </p:extLst>
  </p:cSld>
  <p:clrMapOvr>
    <a:masterClrMapping/>
  </p:clrMapOvr>
  <p:transition/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2368689"/>
      </p:ext>
    </p:extLst>
  </p:cSld>
  <p:clrMapOvr>
    <a:masterClrMapping/>
  </p:clrMapOvr>
  <p:transition/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362597"/>
      </p:ext>
    </p:extLst>
  </p:cSld>
  <p:clrMapOvr>
    <a:masterClrMapping/>
  </p:clrMapOvr>
  <p:transition/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74270323"/>
      </p:ext>
    </p:extLst>
  </p:cSld>
  <p:clrMapOvr>
    <a:masterClrMapping/>
  </p:clrMapOvr>
  <p:transition/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3538105"/>
      </p:ext>
    </p:extLst>
  </p:cSld>
  <p:clrMapOvr>
    <a:masterClrMapping/>
  </p:clrMapOvr>
  <p:transition/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557824"/>
      </p:ext>
    </p:extLst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25" indent="0">
              <a:buNone/>
              <a:defRPr sz="1625" b="1"/>
            </a:lvl2pPr>
            <a:lvl3pPr marL="742848" indent="0">
              <a:buNone/>
              <a:defRPr sz="1462" b="1"/>
            </a:lvl3pPr>
            <a:lvl4pPr marL="1114273" indent="0">
              <a:buNone/>
              <a:defRPr sz="1300" b="1"/>
            </a:lvl4pPr>
            <a:lvl5pPr marL="1485697" indent="0">
              <a:buNone/>
              <a:defRPr sz="1300" b="1"/>
            </a:lvl5pPr>
            <a:lvl6pPr marL="1857122" indent="0">
              <a:buNone/>
              <a:defRPr sz="1300" b="1"/>
            </a:lvl6pPr>
            <a:lvl7pPr marL="2228545" indent="0">
              <a:buNone/>
              <a:defRPr sz="1300" b="1"/>
            </a:lvl7pPr>
            <a:lvl8pPr marL="2599970" indent="0">
              <a:buNone/>
              <a:defRPr sz="1300" b="1"/>
            </a:lvl8pPr>
            <a:lvl9pPr marL="2971393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484A5F-0936-4AF9-B8A5-3BFE0618429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62572"/>
      </p:ext>
    </p:extLst>
  </p:cSld>
  <p:clrMapOvr>
    <a:masterClrMapping/>
  </p:clrMapOvr>
  <p:transition/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4" cy="1138773"/>
          </a:xfrm>
        </p:spPr>
        <p:txBody>
          <a:bodyPr/>
          <a:lstStyle>
            <a:lvl1pPr marL="215504" indent="-215504">
              <a:buFont typeface="+mj-lt"/>
              <a:buAutoNum type="arabicPeriod"/>
              <a:defRPr/>
            </a:lvl1pPr>
            <a:lvl2pPr marL="432000" indent="-216000">
              <a:buSzPct val="75000"/>
              <a:buFont typeface="Wingdings" pitchFamily="2" charset="2"/>
              <a:buChar char="p"/>
              <a:defRPr lang="ru-RU" sz="16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6313" indent="-214313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6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dirty="0" smtClean="0"/>
              <a:t>© АНО ДПО «Техническая академия Росатома»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89D023-F394-4A7A-8956-F1A05DB9C0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8828395"/>
      </p:ext>
    </p:extLst>
  </p:cSld>
  <p:clrMapOvr>
    <a:masterClrMapping/>
  </p:clrMapOvr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0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358" indent="0" algn="ctr">
              <a:buNone/>
              <a:defRPr/>
            </a:lvl2pPr>
            <a:lvl3pPr marL="742714" indent="0" algn="ctr">
              <a:buNone/>
              <a:defRPr/>
            </a:lvl3pPr>
            <a:lvl4pPr marL="1114072" indent="0" algn="ctr">
              <a:buNone/>
              <a:defRPr/>
            </a:lvl4pPr>
            <a:lvl5pPr marL="1485427" indent="0" algn="ctr">
              <a:buNone/>
              <a:defRPr/>
            </a:lvl5pPr>
            <a:lvl6pPr marL="1856785" indent="0" algn="ctr">
              <a:buNone/>
              <a:defRPr/>
            </a:lvl6pPr>
            <a:lvl7pPr marL="2228142" indent="0" algn="ctr">
              <a:buNone/>
              <a:defRPr/>
            </a:lvl7pPr>
            <a:lvl8pPr marL="2599499" indent="0" algn="ctr">
              <a:buNone/>
              <a:defRPr/>
            </a:lvl8pPr>
            <a:lvl9pPr marL="297085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8A9D2F-9DF2-4808-A985-20DDCB0510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6477771"/>
      </p:ext>
    </p:extLst>
  </p:cSld>
  <p:clrMapOvr>
    <a:masterClrMapping/>
  </p:clrMapOvr>
  <p:transition/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0299A0-3206-4FA3-BAA0-A7962965391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09262601"/>
      </p:ext>
    </p:extLst>
  </p:cSld>
  <p:clrMapOvr>
    <a:masterClrMapping/>
  </p:clrMapOvr>
  <p:transition/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2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358" indent="0">
              <a:buNone/>
              <a:defRPr sz="1463"/>
            </a:lvl2pPr>
            <a:lvl3pPr marL="742714" indent="0">
              <a:buNone/>
              <a:defRPr sz="1300"/>
            </a:lvl3pPr>
            <a:lvl4pPr marL="1114072" indent="0">
              <a:buNone/>
              <a:defRPr sz="1138"/>
            </a:lvl4pPr>
            <a:lvl5pPr marL="1485427" indent="0">
              <a:buNone/>
              <a:defRPr sz="1138"/>
            </a:lvl5pPr>
            <a:lvl6pPr marL="1856785" indent="0">
              <a:buNone/>
              <a:defRPr sz="1138"/>
            </a:lvl6pPr>
            <a:lvl7pPr marL="2228142" indent="0">
              <a:buNone/>
              <a:defRPr sz="1138"/>
            </a:lvl7pPr>
            <a:lvl8pPr marL="2599499" indent="0">
              <a:buNone/>
              <a:defRPr sz="1138"/>
            </a:lvl8pPr>
            <a:lvl9pPr marL="2970856" indent="0">
              <a:buNone/>
              <a:defRPr sz="113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10A18B-43BD-4196-B36E-EB67548349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54081213"/>
      </p:ext>
    </p:extLst>
  </p:cSld>
  <p:clrMapOvr>
    <a:masterClrMapping/>
  </p:clrMapOvr>
  <p:transition/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125541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7" y="1125541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A431EC-2580-416D-B642-64BE0171AC3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7708998"/>
      </p:ext>
    </p:extLst>
  </p:cSld>
  <p:clrMapOvr>
    <a:masterClrMapping/>
  </p:clrMapOvr>
  <p:transition/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4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4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89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89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BC041BC-8ED9-4BC0-AFB0-FB6C28FF57A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1975429"/>
      </p:ext>
    </p:extLst>
  </p:cSld>
  <p:clrMapOvr>
    <a:masterClrMapping/>
  </p:clrMapOvr>
  <p:transition/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B77059-F118-4308-813F-F9E89EC11A1C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4244934"/>
      </p:ext>
    </p:extLst>
  </p:cSld>
  <p:clrMapOvr>
    <a:masterClrMapping/>
  </p:clrMapOvr>
  <p:transition/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E947AF-AB77-4FC5-A1FF-488D6E79FA0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568262"/>
      </p:ext>
    </p:extLst>
  </p:cSld>
  <p:clrMapOvr>
    <a:masterClrMapping/>
  </p:clrMapOvr>
  <p:transition/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4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5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4" y="1435102"/>
            <a:ext cx="3259006" cy="4691063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15791D-34B4-4D8E-83BC-DE4469ED4DB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9153398"/>
      </p:ext>
    </p:extLst>
  </p:cSld>
  <p:clrMapOvr>
    <a:masterClrMapping/>
  </p:clrMapOvr>
  <p:transition/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358" indent="0">
              <a:buNone/>
              <a:defRPr sz="2275"/>
            </a:lvl2pPr>
            <a:lvl3pPr marL="742714" indent="0">
              <a:buNone/>
              <a:defRPr sz="1950"/>
            </a:lvl3pPr>
            <a:lvl4pPr marL="1114072" indent="0">
              <a:buNone/>
              <a:defRPr sz="1625"/>
            </a:lvl4pPr>
            <a:lvl5pPr marL="1485427" indent="0">
              <a:buNone/>
              <a:defRPr sz="1625"/>
            </a:lvl5pPr>
            <a:lvl6pPr marL="1856785" indent="0">
              <a:buNone/>
              <a:defRPr sz="1625"/>
            </a:lvl6pPr>
            <a:lvl7pPr marL="2228142" indent="0">
              <a:buNone/>
              <a:defRPr sz="1625"/>
            </a:lvl7pPr>
            <a:lvl8pPr marL="2599499" indent="0">
              <a:buNone/>
              <a:defRPr sz="1625"/>
            </a:lvl8pPr>
            <a:lvl9pPr marL="2970856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7F1292-45A6-49EF-96F7-13DE73BADD3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56319161"/>
      </p:ext>
    </p:extLst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43D998-F6D4-4517-90DE-1869ECC309E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8961204"/>
      </p:ext>
    </p:extLst>
  </p:cSld>
  <p:clrMapOvr>
    <a:masterClrMapping/>
  </p:clrMapOvr>
  <p:transition/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67CC3-F5DE-4E89-B4B2-981C13881D4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8136592"/>
      </p:ext>
    </p:extLst>
  </p:cSld>
  <p:clrMapOvr>
    <a:masterClrMapping/>
  </p:clrMapOvr>
  <p:transition/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29" y="3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3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FC7836-781A-4EC0-AB51-156602D5300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67043019"/>
      </p:ext>
    </p:extLst>
  </p:cSld>
  <p:clrMapOvr>
    <a:masterClrMapping/>
  </p:clrMapOvr>
  <p:transition/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6C29A-E100-4ECF-B446-9F3262DD130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9929874"/>
      </p:ext>
    </p:extLst>
  </p:cSld>
  <p:clrMapOvr>
    <a:masterClrMapping/>
  </p:clrMapOvr>
  <p:transition/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36929F-D227-4C2E-94C7-10FBE4E0FE3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6704929"/>
      </p:ext>
    </p:extLst>
  </p:cSld>
  <p:clrMapOvr>
    <a:masterClrMapping/>
  </p:clrMapOvr>
  <p:transition/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5"/>
            <a:ext cx="8495771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557338"/>
            <a:ext cx="4177374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49816" y="1557343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49816" y="3897315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A991CA8-E4AA-4A21-A5F9-0F73455E02A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9303070"/>
      </p:ext>
    </p:extLst>
  </p:cSld>
  <p:clrMapOvr>
    <a:masterClrMapping/>
  </p:clrMapOvr>
  <p:transition>
    <p:wipe dir="r"/>
  </p:transition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2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975348817"/>
      </p:ext>
    </p:extLst>
  </p:cSld>
  <p:clrMapOvr>
    <a:masterClrMapping/>
  </p:clrMapOvr>
  <p:transition>
    <p:fade/>
  </p:transition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5003808"/>
      </p:ext>
    </p:extLst>
  </p:cSld>
  <p:clrMapOvr>
    <a:masterClrMapping/>
  </p:clrMapOvr>
  <p:transition/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6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6919243"/>
      </p:ext>
    </p:extLst>
  </p:cSld>
  <p:clrMapOvr>
    <a:masterClrMapping/>
  </p:clrMapOvr>
  <p:transition/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9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9702753"/>
      </p:ext>
    </p:extLst>
  </p:cSld>
  <p:clrMapOvr>
    <a:masterClrMapping/>
  </p:clrMapOvr>
  <p:transition/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9996348"/>
      </p:ext>
    </p:extLst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3C213EC-A4FD-44B2-B14C-42B1E3FD709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109026"/>
      </p:ext>
    </p:extLst>
  </p:cSld>
  <p:clrMapOvr>
    <a:masterClrMapping/>
  </p:clrMapOvr>
  <p:transition/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2067064"/>
      </p:ext>
    </p:extLst>
  </p:cSld>
  <p:clrMapOvr>
    <a:masterClrMapping/>
  </p:clrMapOvr>
  <p:transition/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6332003"/>
      </p:ext>
    </p:extLst>
  </p:cSld>
  <p:clrMapOvr>
    <a:masterClrMapping/>
  </p:clrMapOvr>
  <p:transition/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79200600"/>
      </p:ext>
    </p:extLst>
  </p:cSld>
  <p:clrMapOvr>
    <a:masterClrMapping/>
  </p:clrMapOvr>
  <p:transition/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1399179"/>
      </p:ext>
    </p:extLst>
  </p:cSld>
  <p:clrMapOvr>
    <a:masterClrMapping/>
  </p:clrMapOvr>
  <p:transition/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0948882"/>
      </p:ext>
    </p:extLst>
  </p:cSld>
  <p:clrMapOvr>
    <a:masterClrMapping/>
  </p:clrMapOvr>
  <p:transition/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2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57235960"/>
      </p:ext>
    </p:extLst>
  </p:cSld>
  <p:clrMapOvr>
    <a:masterClrMapping/>
  </p:clrMapOvr>
  <p:transition/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2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579249529"/>
      </p:ext>
    </p:extLst>
  </p:cSld>
  <p:clrMapOvr>
    <a:masterClrMapping/>
  </p:clrMapOvr>
  <p:transition>
    <p:fade/>
  </p:transition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4733576"/>
      </p:ext>
    </p:extLst>
  </p:cSld>
  <p:clrMapOvr>
    <a:masterClrMapping/>
  </p:clrMapOvr>
  <p:transition/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6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0847845"/>
      </p:ext>
    </p:extLst>
  </p:cSld>
  <p:clrMapOvr>
    <a:masterClrMapping/>
  </p:clrMapOvr>
  <p:transition/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9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3740241"/>
      </p:ext>
    </p:extLst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3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3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3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6F9C498-7EE5-4812-B797-D3709710132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82301533"/>
      </p:ext>
    </p:extLst>
  </p:cSld>
  <p:clrMapOvr>
    <a:masterClrMapping/>
  </p:clrMapOvr>
  <p:transition/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7200614"/>
      </p:ext>
    </p:extLst>
  </p:cSld>
  <p:clrMapOvr>
    <a:masterClrMapping/>
  </p:clrMapOvr>
  <p:transition/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83661905"/>
      </p:ext>
    </p:extLst>
  </p:cSld>
  <p:clrMapOvr>
    <a:masterClrMapping/>
  </p:clrMapOvr>
  <p:transition/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926326"/>
      </p:ext>
    </p:extLst>
  </p:cSld>
  <p:clrMapOvr>
    <a:masterClrMapping/>
  </p:clrMapOvr>
  <p:transition/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22871"/>
      </p:ext>
    </p:extLst>
  </p:cSld>
  <p:clrMapOvr>
    <a:masterClrMapping/>
  </p:clrMapOvr>
  <p:transition/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5472611"/>
      </p:ext>
    </p:extLst>
  </p:cSld>
  <p:clrMapOvr>
    <a:masterClrMapping/>
  </p:clrMapOvr>
  <p:transition/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423996"/>
      </p:ext>
    </p:extLst>
  </p:cSld>
  <p:clrMapOvr>
    <a:masterClrMapping/>
  </p:clrMapOvr>
  <p:transition/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2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3026926"/>
      </p:ext>
    </p:extLst>
  </p:cSld>
  <p:clrMapOvr>
    <a:masterClrMapping/>
  </p:clrMapOvr>
  <p:transition/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39" y="293691"/>
            <a:ext cx="1814513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2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38070879"/>
      </p:ext>
    </p:extLst>
  </p:cSld>
  <p:clrMapOvr>
    <a:masterClrMapping/>
  </p:clrMapOvr>
  <p:transition>
    <p:fade/>
  </p:transition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F652A7E-7B5B-4F2C-84AB-11012233C89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1340218"/>
      </p:ext>
    </p:extLst>
  </p:cSld>
  <p:clrMapOvr>
    <a:masterClrMapping/>
  </p:clrMapOvr>
  <p:transition/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6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9E5D4A-A68A-4979-BFF1-26EA33A3BE4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7156883"/>
      </p:ext>
    </p:extLst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25" indent="0">
              <a:buNone/>
              <a:defRPr sz="2275"/>
            </a:lvl2pPr>
            <a:lvl3pPr marL="742848" indent="0">
              <a:buNone/>
              <a:defRPr sz="1950"/>
            </a:lvl3pPr>
            <a:lvl4pPr marL="1114273" indent="0">
              <a:buNone/>
              <a:defRPr sz="1625"/>
            </a:lvl4pPr>
            <a:lvl5pPr marL="1485697" indent="0">
              <a:buNone/>
              <a:defRPr sz="1625"/>
            </a:lvl5pPr>
            <a:lvl6pPr marL="1857122" indent="0">
              <a:buNone/>
              <a:defRPr sz="1625"/>
            </a:lvl6pPr>
            <a:lvl7pPr marL="2228545" indent="0">
              <a:buNone/>
              <a:defRPr sz="1625"/>
            </a:lvl7pPr>
            <a:lvl8pPr marL="2599970" indent="0">
              <a:buNone/>
              <a:defRPr sz="1625"/>
            </a:lvl8pPr>
            <a:lvl9pPr marL="2971393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25" indent="0">
              <a:buNone/>
              <a:defRPr sz="975"/>
            </a:lvl2pPr>
            <a:lvl3pPr marL="742848" indent="0">
              <a:buNone/>
              <a:defRPr sz="812"/>
            </a:lvl3pPr>
            <a:lvl4pPr marL="1114273" indent="0">
              <a:buNone/>
              <a:defRPr sz="731"/>
            </a:lvl4pPr>
            <a:lvl5pPr marL="1485697" indent="0">
              <a:buNone/>
              <a:defRPr sz="731"/>
            </a:lvl5pPr>
            <a:lvl6pPr marL="1857122" indent="0">
              <a:buNone/>
              <a:defRPr sz="731"/>
            </a:lvl6pPr>
            <a:lvl7pPr marL="2228545" indent="0">
              <a:buNone/>
              <a:defRPr sz="731"/>
            </a:lvl7pPr>
            <a:lvl8pPr marL="2599970" indent="0">
              <a:buNone/>
              <a:defRPr sz="731"/>
            </a:lvl8pPr>
            <a:lvl9pPr marL="2971393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C0F0F6-CCC6-4BCE-AEF3-550AD85CF09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20652137"/>
      </p:ext>
    </p:extLst>
  </p:cSld>
  <p:clrMapOvr>
    <a:masterClrMapping/>
  </p:clrMapOvr>
  <p:transition/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9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F03975A-768C-4437-9A39-C923B1645F8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7499994"/>
      </p:ext>
    </p:extLst>
  </p:cSld>
  <p:clrMapOvr>
    <a:masterClrMapping/>
  </p:clrMapOvr>
  <p:transition/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0" y="1535113"/>
            <a:ext cx="4378591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0" y="2174875"/>
            <a:ext cx="4378591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CB00D9A-9A95-4530-AB45-9E43DD34517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00676366"/>
      </p:ext>
    </p:extLst>
  </p:cSld>
  <p:clrMapOvr>
    <a:masterClrMapping/>
  </p:clrMapOvr>
  <p:transition/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A5BCEA6-A2C7-4AF7-A065-110D0791B4DE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1332977"/>
      </p:ext>
    </p:extLst>
  </p:cSld>
  <p:clrMapOvr>
    <a:masterClrMapping/>
  </p:clrMapOvr>
  <p:transition/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A52C539-F455-4D3B-9E33-5BF3C1D8BF99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3950666"/>
      </p:ext>
    </p:extLst>
  </p:cSld>
  <p:clrMapOvr>
    <a:masterClrMapping/>
  </p:clrMapOvr>
  <p:transition/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B49247E-F97D-4848-81A6-260246C6C70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1607129"/>
      </p:ext>
    </p:extLst>
  </p:cSld>
  <p:clrMapOvr>
    <a:masterClrMapping/>
  </p:clrMapOvr>
  <p:transition/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B747F88-A27D-4E8A-9A2F-D214F017DE06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9443063"/>
      </p:ext>
    </p:extLst>
  </p:cSld>
  <p:clrMapOvr>
    <a:masterClrMapping/>
  </p:clrMapOvr>
  <p:transition/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F34A681-9C12-4CFD-8A3A-AD7400B6ED3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878016"/>
      </p:ext>
    </p:extLst>
  </p:cSld>
  <p:clrMapOvr>
    <a:masterClrMapping/>
  </p:clrMapOvr>
  <p:transition/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2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C48FCC8-C980-4402-B866-C4CC21F6E7D8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711516"/>
      </p:ext>
    </p:extLst>
  </p:cSld>
  <p:clrMapOvr>
    <a:masterClrMapping/>
  </p:clrMapOvr>
  <p:transition/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7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6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53096023"/>
      </p:ext>
    </p:extLst>
  </p:cSld>
  <p:clrMapOvr>
    <a:masterClrMapping/>
  </p:clrMapOvr>
  <p:transition>
    <p:fade/>
  </p:transition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4509573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B5042E5-1C8C-45DE-A6AF-7287B132F4FA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3902542"/>
      </p:ext>
    </p:extLst>
  </p:cSld>
  <p:clrMapOvr>
    <a:masterClrMapping/>
  </p:clrMapOvr>
  <p:transition/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9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691978"/>
      </p:ext>
    </p:extLst>
  </p:cSld>
  <p:clrMapOvr>
    <a:masterClrMapping/>
  </p:clrMapOvr>
  <p:transition/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9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6253292"/>
      </p:ext>
    </p:extLst>
  </p:cSld>
  <p:clrMapOvr>
    <a:masterClrMapping/>
  </p:clrMapOvr>
  <p:transition/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7959192"/>
      </p:ext>
    </p:extLst>
  </p:cSld>
  <p:clrMapOvr>
    <a:masterClrMapping/>
  </p:clrMapOvr>
  <p:transition/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0735300"/>
      </p:ext>
    </p:extLst>
  </p:cSld>
  <p:clrMapOvr>
    <a:masterClrMapping/>
  </p:clrMapOvr>
  <p:transition/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4540698"/>
      </p:ext>
    </p:extLst>
  </p:cSld>
  <p:clrMapOvr>
    <a:masterClrMapping/>
  </p:clrMapOvr>
  <p:transition/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3322015"/>
      </p:ext>
    </p:extLst>
  </p:cSld>
  <p:clrMapOvr>
    <a:masterClrMapping/>
  </p:clrMapOvr>
  <p:transition/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8635590"/>
      </p:ext>
    </p:extLst>
  </p:cSld>
  <p:clrMapOvr>
    <a:masterClrMapping/>
  </p:clrMapOvr>
  <p:transition/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205747"/>
      </p:ext>
    </p:extLst>
  </p:cSld>
  <p:clrMapOvr>
    <a:masterClrMapping/>
  </p:clrMapOvr>
  <p:transition/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252983"/>
      </p:ext>
    </p:extLst>
  </p:cSld>
  <p:clrMapOvr>
    <a:masterClrMapping/>
  </p:clrMapOvr>
  <p:transition/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3321528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7" y="1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DDA6B0E-062E-4164-B20E-0679A7FC19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784049"/>
      </p:ext>
    </p:extLst>
  </p:cSld>
  <p:clrMapOvr>
    <a:masterClrMapping/>
  </p:clrMapOvr>
  <p:transition/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4" cy="1138773"/>
          </a:xfrm>
        </p:spPr>
        <p:txBody>
          <a:bodyPr/>
          <a:lstStyle>
            <a:lvl1pPr marL="215504" indent="-215504">
              <a:buFont typeface="+mj-lt"/>
              <a:buAutoNum type="arabicPeriod"/>
              <a:defRPr/>
            </a:lvl1pPr>
            <a:lvl2pPr marL="432000" indent="-216000">
              <a:buSzPct val="75000"/>
              <a:buFont typeface="Wingdings" pitchFamily="2" charset="2"/>
              <a:buChar char="p"/>
              <a:defRPr lang="ru-RU" sz="16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46313" indent="-214313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6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r>
              <a:rPr lang="ru-RU" dirty="0" smtClean="0"/>
              <a:t>© АНО ДПО «Техническая академия Росатома»</a:t>
            </a:r>
            <a:endParaRPr lang="ru-RU" dirty="0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89D023-F394-4A7A-8956-F1A05DB9C096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1828630"/>
      </p:ext>
    </p:extLst>
  </p:cSld>
  <p:clrMapOvr>
    <a:masterClrMapping/>
  </p:clrMapOvr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9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056" indent="0" algn="ctr">
              <a:buNone/>
              <a:defRPr/>
            </a:lvl2pPr>
            <a:lvl3pPr marL="914109" indent="0" algn="ctr">
              <a:buNone/>
              <a:defRPr/>
            </a:lvl3pPr>
            <a:lvl4pPr marL="1371165" indent="0" algn="ctr">
              <a:buNone/>
              <a:defRPr/>
            </a:lvl4pPr>
            <a:lvl5pPr marL="1828218" indent="0" algn="ctr">
              <a:buNone/>
              <a:defRPr/>
            </a:lvl5pPr>
            <a:lvl6pPr marL="2285274" indent="0" algn="ctr">
              <a:buNone/>
              <a:defRPr/>
            </a:lvl6pPr>
            <a:lvl7pPr marL="2742328" indent="0" algn="ctr">
              <a:buNone/>
              <a:defRPr/>
            </a:lvl7pPr>
            <a:lvl8pPr marL="3199383" indent="0" algn="ctr">
              <a:buNone/>
              <a:defRPr/>
            </a:lvl8pPr>
            <a:lvl9pPr marL="3656438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7C13D27-6F81-4A01-A66F-623CE05D8CE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051651"/>
      </p:ext>
    </p:extLst>
  </p:cSld>
  <p:clrMapOvr>
    <a:masterClrMapping/>
  </p:clrMapOvr>
  <p:transition/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8DC81C4-6F4B-41BB-8214-42048A59DF1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03812836"/>
      </p:ext>
    </p:extLst>
  </p:cSld>
  <p:clrMapOvr>
    <a:masterClrMapping/>
  </p:clrMapOvr>
  <p:transition/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056" indent="0">
              <a:buNone/>
              <a:defRPr sz="1800"/>
            </a:lvl2pPr>
            <a:lvl3pPr marL="914109" indent="0">
              <a:buNone/>
              <a:defRPr sz="1600"/>
            </a:lvl3pPr>
            <a:lvl4pPr marL="1371165" indent="0">
              <a:buNone/>
              <a:defRPr sz="1400"/>
            </a:lvl4pPr>
            <a:lvl5pPr marL="1828218" indent="0">
              <a:buNone/>
              <a:defRPr sz="1400"/>
            </a:lvl5pPr>
            <a:lvl6pPr marL="2285274" indent="0">
              <a:buNone/>
              <a:defRPr sz="1400"/>
            </a:lvl6pPr>
            <a:lvl7pPr marL="2742328" indent="0">
              <a:buNone/>
              <a:defRPr sz="1400"/>
            </a:lvl7pPr>
            <a:lvl8pPr marL="3199383" indent="0">
              <a:buNone/>
              <a:defRPr sz="1400"/>
            </a:lvl8pPr>
            <a:lvl9pPr marL="3656438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B6ECFFA9-EDC8-4181-863E-EBD4197FAB5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1449729"/>
      </p:ext>
    </p:extLst>
  </p:cSld>
  <p:clrMapOvr>
    <a:masterClrMapping/>
  </p:clrMapOvr>
  <p:transition/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125541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41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BBEDBDB-98BE-4BAD-844F-DE45B9B5ECB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2233562"/>
      </p:ext>
    </p:extLst>
  </p:cSld>
  <p:clrMapOvr>
    <a:masterClrMapping/>
  </p:clrMapOvr>
  <p:transition/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4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56" indent="0">
              <a:buNone/>
              <a:defRPr sz="2000" b="1"/>
            </a:lvl2pPr>
            <a:lvl3pPr marL="914109" indent="0">
              <a:buNone/>
              <a:defRPr sz="1800" b="1"/>
            </a:lvl3pPr>
            <a:lvl4pPr marL="1371165" indent="0">
              <a:buNone/>
              <a:defRPr sz="1600" b="1"/>
            </a:lvl4pPr>
            <a:lvl5pPr marL="1828218" indent="0">
              <a:buNone/>
              <a:defRPr sz="1600" b="1"/>
            </a:lvl5pPr>
            <a:lvl6pPr marL="2285274" indent="0">
              <a:buNone/>
              <a:defRPr sz="1600" b="1"/>
            </a:lvl6pPr>
            <a:lvl7pPr marL="2742328" indent="0">
              <a:buNone/>
              <a:defRPr sz="1600" b="1"/>
            </a:lvl7pPr>
            <a:lvl8pPr marL="3199383" indent="0">
              <a:buNone/>
              <a:defRPr sz="1600" b="1"/>
            </a:lvl8pPr>
            <a:lvl9pPr marL="3656438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4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EBCD6F6-C55B-45E3-9D77-E9B8379BBE9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33944413"/>
      </p:ext>
    </p:extLst>
  </p:cSld>
  <p:clrMapOvr>
    <a:masterClrMapping/>
  </p:clrMapOvr>
  <p:transition/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1760DDC-C0DB-4549-9938-01F87358506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5774194"/>
      </p:ext>
    </p:extLst>
  </p:cSld>
  <p:clrMapOvr>
    <a:masterClrMapping/>
  </p:clrMapOvr>
  <p:transition/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6D71D20-90B6-4F59-B592-31FD8B17B6D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0386746"/>
      </p:ext>
    </p:extLst>
  </p:cSld>
  <p:clrMapOvr>
    <a:masterClrMapping/>
  </p:clrMapOvr>
  <p:transition/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4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4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4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C472A0E-BBB8-421A-9226-33E78950153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9491049"/>
      </p:ext>
    </p:extLst>
  </p:cSld>
  <p:clrMapOvr>
    <a:masterClrMapping/>
  </p:clrMapOvr>
  <p:transition/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056" indent="0">
              <a:buNone/>
              <a:defRPr sz="2800"/>
            </a:lvl2pPr>
            <a:lvl3pPr marL="914109" indent="0">
              <a:buNone/>
              <a:defRPr sz="2400"/>
            </a:lvl3pPr>
            <a:lvl4pPr marL="1371165" indent="0">
              <a:buNone/>
              <a:defRPr sz="2000"/>
            </a:lvl4pPr>
            <a:lvl5pPr marL="1828218" indent="0">
              <a:buNone/>
              <a:defRPr sz="2000"/>
            </a:lvl5pPr>
            <a:lvl6pPr marL="2285274" indent="0">
              <a:buNone/>
              <a:defRPr sz="2000"/>
            </a:lvl6pPr>
            <a:lvl7pPr marL="2742328" indent="0">
              <a:buNone/>
              <a:defRPr sz="2000"/>
            </a:lvl7pPr>
            <a:lvl8pPr marL="3199383" indent="0">
              <a:buNone/>
              <a:defRPr sz="2000"/>
            </a:lvl8pPr>
            <a:lvl9pPr marL="3656438" indent="0">
              <a:buNone/>
              <a:defRPr sz="2000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056" indent="0">
              <a:buNone/>
              <a:defRPr sz="1200"/>
            </a:lvl2pPr>
            <a:lvl3pPr marL="914109" indent="0">
              <a:buNone/>
              <a:defRPr sz="1000"/>
            </a:lvl3pPr>
            <a:lvl4pPr marL="1371165" indent="0">
              <a:buNone/>
              <a:defRPr sz="900"/>
            </a:lvl4pPr>
            <a:lvl5pPr marL="1828218" indent="0">
              <a:buNone/>
              <a:defRPr sz="900"/>
            </a:lvl5pPr>
            <a:lvl6pPr marL="2285274" indent="0">
              <a:buNone/>
              <a:defRPr sz="900"/>
            </a:lvl6pPr>
            <a:lvl7pPr marL="2742328" indent="0">
              <a:buNone/>
              <a:defRPr sz="900"/>
            </a:lvl7pPr>
            <a:lvl8pPr marL="3199383" indent="0">
              <a:buNone/>
              <a:defRPr sz="900"/>
            </a:lvl8pPr>
            <a:lvl9pPr marL="3656438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C1D62D5-0DA3-464C-BEB5-29FA04369A64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05782425"/>
      </p:ext>
    </p:extLst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EFFED-B480-4D39-AB5C-F6DD31B8F0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0152635"/>
      </p:ext>
    </p:extLst>
  </p:cSld>
  <p:clrMapOvr>
    <a:masterClrMapping/>
  </p:clrMapOvr>
  <p:transition/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47043CC-ABFC-4F16-9FFE-BBF5BAB2835C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1103424"/>
      </p:ext>
    </p:extLst>
  </p:cSld>
  <p:clrMapOvr>
    <a:masterClrMapping/>
  </p:clrMapOvr>
  <p:transition/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3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3" y="3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6F1BDAD7-0790-40E6-993C-7ED646AA19B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63504647"/>
      </p:ext>
    </p:extLst>
  </p:cSld>
  <p:clrMapOvr>
    <a:masterClrMapping/>
  </p:clrMapOvr>
  <p:transition/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39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19204EC4-0E73-40CC-AB8A-CFCA90E330F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13804991"/>
      </p:ext>
    </p:extLst>
  </p:cSld>
  <p:clrMapOvr>
    <a:masterClrMapping/>
  </p:clrMapOvr>
  <p:transition/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39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6679901-5838-4815-967A-FE06F983687F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53857246"/>
      </p:ext>
    </p:extLst>
  </p:cSld>
  <p:clrMapOvr>
    <a:masterClrMapping/>
  </p:clrMapOvr>
  <p:transition/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39" y="4"/>
            <a:ext cx="8495771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3" y="1557338"/>
            <a:ext cx="4177373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49816" y="1557342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49816" y="3897314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1B085C3-5371-436F-AE65-2C6616444572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506528"/>
      </p:ext>
    </p:extLst>
  </p:cSld>
  <p:clrMapOvr>
    <a:masterClrMapping/>
  </p:clrMapOvr>
  <p:transition>
    <p:wipe dir="r"/>
  </p:transition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3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9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2" y="3284558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3616840430"/>
      </p:ext>
    </p:extLst>
  </p:cSld>
  <p:clrMapOvr>
    <a:masterClrMapping/>
  </p:clrMapOvr>
  <p:transition>
    <p:fade/>
  </p:transition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8245423"/>
      </p:ext>
    </p:extLst>
  </p:cSld>
  <p:clrMapOvr>
    <a:masterClrMapping/>
  </p:clrMapOvr>
  <p:transition/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7430590"/>
      </p:ext>
    </p:extLst>
  </p:cSld>
  <p:clrMapOvr>
    <a:masterClrMapping/>
  </p:clrMapOvr>
  <p:transition/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8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0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04427841"/>
      </p:ext>
    </p:extLst>
  </p:cSld>
  <p:clrMapOvr>
    <a:masterClrMapping/>
  </p:clrMapOvr>
  <p:transition/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1322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D41163F-0EDC-4F72-A93E-A2C935F8D5D2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275920"/>
      </p:ext>
    </p:extLst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9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13277A-123E-49FC-9E7F-D247C27F788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4515756"/>
      </p:ext>
    </p:extLst>
  </p:cSld>
  <p:clrMapOvr>
    <a:masterClrMapping/>
  </p:clrMapOvr>
  <p:transition/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61904134"/>
      </p:ext>
    </p:extLst>
  </p:cSld>
  <p:clrMapOvr>
    <a:masterClrMapping/>
  </p:clrMapOvr>
  <p:transition/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039189"/>
      </p:ext>
    </p:extLst>
  </p:cSld>
  <p:clrMapOvr>
    <a:masterClrMapping/>
  </p:clrMapOvr>
  <p:transition/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7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7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4513337"/>
      </p:ext>
    </p:extLst>
  </p:cSld>
  <p:clrMapOvr>
    <a:masterClrMapping/>
  </p:clrMapOvr>
  <p:transition/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5961743"/>
      </p:ext>
    </p:extLst>
  </p:cSld>
  <p:clrMapOvr>
    <a:masterClrMapping/>
  </p:clrMapOvr>
  <p:transition/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451378"/>
      </p:ext>
    </p:extLst>
  </p:cSld>
  <p:clrMapOvr>
    <a:masterClrMapping/>
  </p:clrMapOvr>
  <p:transition/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030169"/>
      </p:ext>
    </p:extLst>
  </p:cSld>
  <p:clrMapOvr>
    <a:masterClrMapping/>
  </p:clrMapOvr>
  <p:transition/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5700346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5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4929057"/>
      </p:ext>
    </p:extLst>
  </p:cSld>
  <p:clrMapOvr>
    <a:masterClrMapping/>
  </p:clrMapOvr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3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9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2" y="3284558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386290562"/>
      </p:ext>
    </p:extLst>
  </p:cSld>
  <p:clrMapOvr>
    <a:masterClrMapping/>
  </p:clrMapOvr>
  <p:transition>
    <p:fade/>
  </p:transition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06643685"/>
      </p:ext>
    </p:extLst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"/>
          <p:cNvSpPr txBox="1">
            <a:spLocks/>
          </p:cNvSpPr>
          <p:nvPr userDrawn="1"/>
        </p:nvSpPr>
        <p:spPr>
          <a:xfrm>
            <a:off x="9446818" y="6565903"/>
            <a:ext cx="23045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EEDBEEA-E033-411C-9428-B5A9621A07B1}" type="slidenum">
              <a:rPr lang="en-US" sz="812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12" dirty="0">
              <a:solidFill>
                <a:srgbClr val="000000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>
          <a:xfrm>
            <a:off x="125730" y="6463093"/>
            <a:ext cx="9253721" cy="395672"/>
          </a:xfrm>
          <a:prstGeom prst="rect">
            <a:avLst/>
          </a:prstGeom>
        </p:spPr>
        <p:txBody>
          <a:bodyPr lIns="93286" tIns="46643" rIns="93286" bIns="46643"/>
          <a:lstStyle>
            <a:lvl1pPr>
              <a:defRPr sz="569"/>
            </a:lvl1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49803508"/>
      </p:ext>
    </p:extLst>
  </p:cSld>
  <p:clrMapOvr>
    <a:masterClrMapping/>
  </p:clrMapOvr>
  <p:transition/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8762465"/>
      </p:ext>
    </p:extLst>
  </p:cSld>
  <p:clrMapOvr>
    <a:masterClrMapping/>
  </p:clrMapOvr>
  <p:transition/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8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0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4839988"/>
      </p:ext>
    </p:extLst>
  </p:cSld>
  <p:clrMapOvr>
    <a:masterClrMapping/>
  </p:clrMapOvr>
  <p:transition/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2345512"/>
      </p:ext>
    </p:extLst>
  </p:cSld>
  <p:clrMapOvr>
    <a:masterClrMapping/>
  </p:clrMapOvr>
  <p:transition/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5510000"/>
      </p:ext>
    </p:extLst>
  </p:cSld>
  <p:clrMapOvr>
    <a:masterClrMapping/>
  </p:clrMapOvr>
  <p:transition/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793591"/>
      </p:ext>
    </p:extLst>
  </p:cSld>
  <p:clrMapOvr>
    <a:masterClrMapping/>
  </p:clrMapOvr>
  <p:transition/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7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7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0187065"/>
      </p:ext>
    </p:extLst>
  </p:cSld>
  <p:clrMapOvr>
    <a:masterClrMapping/>
  </p:clrMapOvr>
  <p:transition/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6621831"/>
      </p:ext>
    </p:extLst>
  </p:cSld>
  <p:clrMapOvr>
    <a:masterClrMapping/>
  </p:clrMapOvr>
  <p:transition/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3434418"/>
      </p:ext>
    </p:extLst>
  </p:cSld>
  <p:clrMapOvr>
    <a:masterClrMapping/>
  </p:clrMapOvr>
  <p:transition/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9209624"/>
      </p:ext>
    </p:extLst>
  </p:cSld>
  <p:clrMapOvr>
    <a:masterClrMapping/>
  </p:clrMapOvr>
  <p:transition/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95705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2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464" indent="0" algn="ctr">
              <a:buNone/>
              <a:defRPr/>
            </a:lvl2pPr>
            <a:lvl3pPr marL="742927" indent="0" algn="ctr">
              <a:buNone/>
              <a:defRPr/>
            </a:lvl3pPr>
            <a:lvl4pPr marL="1114391" indent="0" algn="ctr">
              <a:buNone/>
              <a:defRPr/>
            </a:lvl4pPr>
            <a:lvl5pPr marL="1485854" indent="0" algn="ctr">
              <a:buNone/>
              <a:defRPr/>
            </a:lvl5pPr>
            <a:lvl6pPr marL="1857318" indent="0" algn="ctr">
              <a:buNone/>
              <a:defRPr/>
            </a:lvl6pPr>
            <a:lvl7pPr marL="2228781" indent="0" algn="ctr">
              <a:buNone/>
              <a:defRPr/>
            </a:lvl7pPr>
            <a:lvl8pPr marL="2600245" indent="0" algn="ctr">
              <a:buNone/>
              <a:defRPr/>
            </a:lvl8pPr>
            <a:lvl9pPr marL="2971709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3E9CA10-F2B8-43AF-A6EA-BB22B46D3303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3244732"/>
      </p:ext>
    </p:extLst>
  </p:cSld>
  <p:clrMapOvr>
    <a:masterClrMapping/>
  </p:clrMapOvr>
  <p:transition/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5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991519"/>
      </p:ext>
    </p:extLst>
  </p:cSld>
  <p:clrMapOvr>
    <a:masterClrMapping/>
  </p:clrMapOvr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3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9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2" y="3284558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14785241"/>
      </p:ext>
    </p:extLst>
  </p:cSld>
  <p:clrMapOvr>
    <a:masterClrMapping/>
  </p:clrMapOvr>
  <p:transition>
    <p:fade/>
  </p:transition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1186422"/>
      </p:ext>
    </p:extLst>
  </p:cSld>
  <p:clrMapOvr>
    <a:masterClrMapping/>
  </p:clrMapOvr>
  <p:transition/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936198"/>
      </p:ext>
    </p:extLst>
  </p:cSld>
  <p:clrMapOvr>
    <a:masterClrMapping/>
  </p:clrMapOvr>
  <p:transition/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8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0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6408476"/>
      </p:ext>
    </p:extLst>
  </p:cSld>
  <p:clrMapOvr>
    <a:masterClrMapping/>
  </p:clrMapOvr>
  <p:transition/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2479218"/>
      </p:ext>
    </p:extLst>
  </p:cSld>
  <p:clrMapOvr>
    <a:masterClrMapping/>
  </p:clrMapOvr>
  <p:transition/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6529"/>
      </p:ext>
    </p:extLst>
  </p:cSld>
  <p:clrMapOvr>
    <a:masterClrMapping/>
  </p:clrMapOvr>
  <p:transition/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39077263"/>
      </p:ext>
    </p:extLst>
  </p:cSld>
  <p:clrMapOvr>
    <a:masterClrMapping/>
  </p:clrMapOvr>
  <p:transition/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7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7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2790612"/>
      </p:ext>
    </p:extLst>
  </p:cSld>
  <p:clrMapOvr>
    <a:masterClrMapping/>
  </p:clrMapOvr>
  <p:transition/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1769671"/>
      </p:ext>
    </p:extLst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1ECB817-0CEE-4E91-A127-A2C10386CFC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309156"/>
      </p:ext>
    </p:extLst>
  </p:cSld>
  <p:clrMapOvr>
    <a:masterClrMapping/>
  </p:clrMapOvr>
  <p:transition/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4772980"/>
      </p:ext>
    </p:extLst>
  </p:cSld>
  <p:clrMapOvr>
    <a:masterClrMapping/>
  </p:clrMapOvr>
  <p:transition/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2319514"/>
      </p:ext>
    </p:extLst>
  </p:cSld>
  <p:clrMapOvr>
    <a:masterClrMapping/>
  </p:clrMapOvr>
  <p:transition/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89405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5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493880"/>
      </p:ext>
    </p:extLst>
  </p:cSld>
  <p:clrMapOvr>
    <a:masterClrMapping/>
  </p:clrMapOvr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3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59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2" y="3284558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55739382"/>
      </p:ext>
    </p:extLst>
  </p:cSld>
  <p:clrMapOvr>
    <a:masterClrMapping/>
  </p:clrMapOvr>
  <p:transition>
    <p:fade/>
  </p:transition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8237464"/>
      </p:ext>
    </p:extLst>
  </p:cSld>
  <p:clrMapOvr>
    <a:masterClrMapping/>
  </p:clrMapOvr>
  <p:transition/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336859"/>
      </p:ext>
    </p:extLst>
  </p:cSld>
  <p:clrMapOvr>
    <a:masterClrMapping/>
  </p:clrMapOvr>
  <p:transition/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8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0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923825"/>
      </p:ext>
    </p:extLst>
  </p:cSld>
  <p:clrMapOvr>
    <a:masterClrMapping/>
  </p:clrMapOvr>
  <p:transition/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0710758"/>
      </p:ext>
    </p:extLst>
  </p:cSld>
  <p:clrMapOvr>
    <a:masterClrMapping/>
  </p:clrMapOvr>
  <p:transition/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5916909"/>
      </p:ext>
    </p:extLst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3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464" indent="0">
              <a:buNone/>
              <a:defRPr sz="1462"/>
            </a:lvl2pPr>
            <a:lvl3pPr marL="742927" indent="0">
              <a:buNone/>
              <a:defRPr sz="1300"/>
            </a:lvl3pPr>
            <a:lvl4pPr marL="1114391" indent="0">
              <a:buNone/>
              <a:defRPr sz="1137"/>
            </a:lvl4pPr>
            <a:lvl5pPr marL="1485854" indent="0">
              <a:buNone/>
              <a:defRPr sz="1137"/>
            </a:lvl5pPr>
            <a:lvl6pPr marL="1857318" indent="0">
              <a:buNone/>
              <a:defRPr sz="1137"/>
            </a:lvl6pPr>
            <a:lvl7pPr marL="2228781" indent="0">
              <a:buNone/>
              <a:defRPr sz="1137"/>
            </a:lvl7pPr>
            <a:lvl8pPr marL="2600245" indent="0">
              <a:buNone/>
              <a:defRPr sz="1137"/>
            </a:lvl8pPr>
            <a:lvl9pPr marL="2971709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C2F488B-D30A-448D-9E90-6F63BA85F56C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975267"/>
      </p:ext>
    </p:extLst>
  </p:cSld>
  <p:clrMapOvr>
    <a:masterClrMapping/>
  </p:clrMapOvr>
  <p:transition/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513055"/>
      </p:ext>
    </p:extLst>
  </p:cSld>
  <p:clrMapOvr>
    <a:masterClrMapping/>
  </p:clrMapOvr>
  <p:transition/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7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7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7049744"/>
      </p:ext>
    </p:extLst>
  </p:cSld>
  <p:clrMapOvr>
    <a:masterClrMapping/>
  </p:clrMapOvr>
  <p:transition/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309870"/>
      </p:ext>
    </p:extLst>
  </p:cSld>
  <p:clrMapOvr>
    <a:masterClrMapping/>
  </p:clrMapOvr>
  <p:transition/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8496580"/>
      </p:ext>
    </p:extLst>
  </p:cSld>
  <p:clrMapOvr>
    <a:masterClrMapping/>
  </p:clrMapOvr>
  <p:transition/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78795"/>
      </p:ext>
    </p:extLst>
  </p:cSld>
  <p:clrMapOvr>
    <a:masterClrMapping/>
  </p:clrMapOvr>
  <p:transition/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098928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4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15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802768"/>
      </p:ext>
    </p:extLst>
  </p:cSld>
  <p:clrMapOvr>
    <a:masterClrMapping/>
  </p:clrMapOvr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72053761"/>
      </p:ext>
    </p:extLst>
  </p:cSld>
  <p:clrMapOvr>
    <a:masterClrMapping/>
  </p:clrMapOvr>
  <p:transition>
    <p:fade/>
  </p:transition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06484"/>
      </p:ext>
    </p:extLst>
  </p:cSld>
  <p:clrMapOvr>
    <a:masterClrMapping/>
  </p:clrMapOvr>
  <p:transition/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90104772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8" y="112553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819BB74-3F34-4E4C-8F95-FBF5C0AAF8F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4047453"/>
      </p:ext>
    </p:extLst>
  </p:cSld>
  <p:clrMapOvr>
    <a:masterClrMapping/>
  </p:clrMapOvr>
  <p:transition/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5039181"/>
      </p:ext>
    </p:extLst>
  </p:cSld>
  <p:clrMapOvr>
    <a:masterClrMapping/>
  </p:clrMapOvr>
  <p:transition/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695935"/>
      </p:ext>
    </p:extLst>
  </p:cSld>
  <p:clrMapOvr>
    <a:masterClrMapping/>
  </p:clrMapOvr>
  <p:transition/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678477"/>
      </p:ext>
    </p:extLst>
  </p:cSld>
  <p:clrMapOvr>
    <a:masterClrMapping/>
  </p:clrMapOvr>
  <p:transition/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1154945"/>
      </p:ext>
    </p:extLst>
  </p:cSld>
  <p:clrMapOvr>
    <a:masterClrMapping/>
  </p:clrMapOvr>
  <p:transition/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7354699"/>
      </p:ext>
    </p:extLst>
  </p:cSld>
  <p:clrMapOvr>
    <a:masterClrMapping/>
  </p:clrMapOvr>
  <p:transition/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988379"/>
      </p:ext>
    </p:extLst>
  </p:cSld>
  <p:clrMapOvr>
    <a:masterClrMapping/>
  </p:clrMapOvr>
  <p:transition/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8525472"/>
      </p:ext>
    </p:extLst>
  </p:cSld>
  <p:clrMapOvr>
    <a:masterClrMapping/>
  </p:clrMapOvr>
  <p:transition/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6485778"/>
      </p:ext>
    </p:extLst>
  </p:cSld>
  <p:clrMapOvr>
    <a:masterClrMapping/>
  </p:clrMapOvr>
  <p:transition/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2876751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7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21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33557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2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464" indent="0">
              <a:buNone/>
              <a:defRPr sz="1625" b="1"/>
            </a:lvl2pPr>
            <a:lvl3pPr marL="742927" indent="0">
              <a:buNone/>
              <a:defRPr sz="1462" b="1"/>
            </a:lvl3pPr>
            <a:lvl4pPr marL="1114391" indent="0">
              <a:buNone/>
              <a:defRPr sz="1300" b="1"/>
            </a:lvl4pPr>
            <a:lvl5pPr marL="1485854" indent="0">
              <a:buNone/>
              <a:defRPr sz="1300" b="1"/>
            </a:lvl5pPr>
            <a:lvl6pPr marL="1857318" indent="0">
              <a:buNone/>
              <a:defRPr sz="1300" b="1"/>
            </a:lvl6pPr>
            <a:lvl7pPr marL="2228781" indent="0">
              <a:buNone/>
              <a:defRPr sz="1300" b="1"/>
            </a:lvl7pPr>
            <a:lvl8pPr marL="2600245" indent="0">
              <a:buNone/>
              <a:defRPr sz="1300" b="1"/>
            </a:lvl8pPr>
            <a:lvl9pPr marL="2971709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2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AB9CB4A-8D5D-4256-B747-FD3916B72EE9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9253761"/>
      </p:ext>
    </p:extLst>
  </p:cSld>
  <p:clrMapOvr>
    <a:masterClrMapping/>
  </p:clrMapOvr>
  <p:transition/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358" indent="0" algn="ctr">
              <a:buNone/>
              <a:defRPr/>
            </a:lvl2pPr>
            <a:lvl3pPr marL="742714" indent="0" algn="ctr">
              <a:buNone/>
              <a:defRPr/>
            </a:lvl3pPr>
            <a:lvl4pPr marL="1114072" indent="0" algn="ctr">
              <a:buNone/>
              <a:defRPr/>
            </a:lvl4pPr>
            <a:lvl5pPr marL="1485427" indent="0" algn="ctr">
              <a:buNone/>
              <a:defRPr/>
            </a:lvl5pPr>
            <a:lvl6pPr marL="1856785" indent="0" algn="ctr">
              <a:buNone/>
              <a:defRPr/>
            </a:lvl6pPr>
            <a:lvl7pPr marL="2228142" indent="0" algn="ctr">
              <a:buNone/>
              <a:defRPr/>
            </a:lvl7pPr>
            <a:lvl8pPr marL="2599499" indent="0" algn="ctr">
              <a:buNone/>
              <a:defRPr/>
            </a:lvl8pPr>
            <a:lvl9pPr marL="297085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8A9D2F-9DF2-4808-A985-20DDCB0510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232078"/>
      </p:ext>
    </p:extLst>
  </p:cSld>
  <p:clrMapOvr>
    <a:masterClrMapping/>
  </p:clrMapOvr>
  <p:transition/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0299A0-3206-4FA3-BAA0-A7962965391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55682348"/>
      </p:ext>
    </p:extLst>
  </p:cSld>
  <p:clrMapOvr>
    <a:masterClrMapping/>
  </p:clrMapOvr>
  <p:transition/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0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358" indent="0">
              <a:buNone/>
              <a:defRPr sz="1463"/>
            </a:lvl2pPr>
            <a:lvl3pPr marL="742714" indent="0">
              <a:buNone/>
              <a:defRPr sz="1300"/>
            </a:lvl3pPr>
            <a:lvl4pPr marL="1114072" indent="0">
              <a:buNone/>
              <a:defRPr sz="1138"/>
            </a:lvl4pPr>
            <a:lvl5pPr marL="1485427" indent="0">
              <a:buNone/>
              <a:defRPr sz="1138"/>
            </a:lvl5pPr>
            <a:lvl6pPr marL="1856785" indent="0">
              <a:buNone/>
              <a:defRPr sz="1138"/>
            </a:lvl6pPr>
            <a:lvl7pPr marL="2228142" indent="0">
              <a:buNone/>
              <a:defRPr sz="1138"/>
            </a:lvl7pPr>
            <a:lvl8pPr marL="2599499" indent="0">
              <a:buNone/>
              <a:defRPr sz="1138"/>
            </a:lvl8pPr>
            <a:lvl9pPr marL="2970856" indent="0">
              <a:buNone/>
              <a:defRPr sz="113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10A18B-43BD-4196-B36E-EB67548349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43285350"/>
      </p:ext>
    </p:extLst>
  </p:cSld>
  <p:clrMapOvr>
    <a:masterClrMapping/>
  </p:clrMapOvr>
  <p:transition/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7" y="1125541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2" y="1125541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A431EC-2580-416D-B642-64BE0171AC3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55738266"/>
      </p:ext>
    </p:extLst>
  </p:cSld>
  <p:clrMapOvr>
    <a:masterClrMapping/>
  </p:clrMapOvr>
  <p:transition/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5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5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9" y="1535113"/>
            <a:ext cx="4378589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9" y="2174875"/>
            <a:ext cx="4378589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BC041BC-8ED9-4BC0-AFB0-FB6C28FF57A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37338371"/>
      </p:ext>
    </p:extLst>
  </p:cSld>
  <p:clrMapOvr>
    <a:masterClrMapping/>
  </p:clrMapOvr>
  <p:transition/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B77059-F118-4308-813F-F9E89EC11A1C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4552230"/>
      </p:ext>
    </p:extLst>
  </p:cSld>
  <p:clrMapOvr>
    <a:masterClrMapping/>
  </p:clrMapOvr>
  <p:transition/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E947AF-AB77-4FC5-A1FF-488D6E79FA0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3807552"/>
      </p:ext>
    </p:extLst>
  </p:cSld>
  <p:clrMapOvr>
    <a:masterClrMapping/>
  </p:clrMapOvr>
  <p:transition/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8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15791D-34B4-4D8E-83BC-DE4469ED4DB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6712241"/>
      </p:ext>
    </p:extLst>
  </p:cSld>
  <p:clrMapOvr>
    <a:masterClrMapping/>
  </p:clrMapOvr>
  <p:transition/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358" indent="0">
              <a:buNone/>
              <a:defRPr sz="2275"/>
            </a:lvl2pPr>
            <a:lvl3pPr marL="742714" indent="0">
              <a:buNone/>
              <a:defRPr sz="1950"/>
            </a:lvl3pPr>
            <a:lvl4pPr marL="1114072" indent="0">
              <a:buNone/>
              <a:defRPr sz="1625"/>
            </a:lvl4pPr>
            <a:lvl5pPr marL="1485427" indent="0">
              <a:buNone/>
              <a:defRPr sz="1625"/>
            </a:lvl5pPr>
            <a:lvl6pPr marL="1856785" indent="0">
              <a:buNone/>
              <a:defRPr sz="1625"/>
            </a:lvl6pPr>
            <a:lvl7pPr marL="2228142" indent="0">
              <a:buNone/>
              <a:defRPr sz="1625"/>
            </a:lvl7pPr>
            <a:lvl8pPr marL="2599499" indent="0">
              <a:buNone/>
              <a:defRPr sz="1625"/>
            </a:lvl8pPr>
            <a:lvl9pPr marL="2970856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7F1292-45A6-49EF-96F7-13DE73BADD3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87662588"/>
      </p:ext>
    </p:extLst>
  </p:cSld>
  <p:clrMapOvr>
    <a:masterClrMapping/>
  </p:clrMapOvr>
  <p:transition/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67CC3-F5DE-4E89-B4B2-981C13881D4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72090141"/>
      </p:ext>
    </p:extLst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F2D64-0F30-4548-B09B-CB79569B9FB4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072391"/>
      </p:ext>
    </p:extLst>
  </p:cSld>
  <p:clrMapOvr>
    <a:masterClrMapping/>
  </p:clrMapOvr>
  <p:transition/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3" y="3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3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FC7836-781A-4EC0-AB51-156602D5300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4944214"/>
      </p:ext>
    </p:extLst>
  </p:cSld>
  <p:clrMapOvr>
    <a:masterClrMapping/>
  </p:clrMapOvr>
  <p:transition/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6C29A-E100-4ECF-B446-9F3262DD130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91257640"/>
      </p:ext>
    </p:extLst>
  </p:cSld>
  <p:clrMapOvr>
    <a:masterClrMapping/>
  </p:clrMapOvr>
  <p:transition/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36929F-D227-4C2E-94C7-10FBE4E0FE3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634018"/>
      </p:ext>
    </p:extLst>
  </p:cSld>
  <p:clrMapOvr>
    <a:masterClrMapping/>
  </p:clrMapOvr>
  <p:transition/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7"/>
            <a:ext cx="8495771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557338"/>
            <a:ext cx="4177375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49816" y="1557345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49816" y="3897323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A991CA8-E4AA-4A21-A5F9-0F73455E02A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01489208"/>
      </p:ext>
    </p:extLst>
  </p:cSld>
  <p:clrMapOvr>
    <a:masterClrMapping/>
  </p:clrMapOvr>
  <p:transition>
    <p:wipe dir="r"/>
  </p:transition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259601221"/>
      </p:ext>
    </p:extLst>
  </p:cSld>
  <p:clrMapOvr>
    <a:masterClrMapping/>
  </p:clrMapOvr>
  <p:transition>
    <p:fade/>
  </p:transition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2557482"/>
      </p:ext>
    </p:extLst>
  </p:cSld>
  <p:clrMapOvr>
    <a:masterClrMapping/>
  </p:clrMapOvr>
  <p:transition/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2992290"/>
      </p:ext>
    </p:extLst>
  </p:cSld>
  <p:clrMapOvr>
    <a:masterClrMapping/>
  </p:clrMapOvr>
  <p:transition/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4794143"/>
      </p:ext>
    </p:extLst>
  </p:cSld>
  <p:clrMapOvr>
    <a:masterClrMapping/>
  </p:clrMapOvr>
  <p:transition/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7928484"/>
      </p:ext>
    </p:extLst>
  </p:cSld>
  <p:clrMapOvr>
    <a:masterClrMapping/>
  </p:clrMapOvr>
  <p:transition/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4676072"/>
      </p:ext>
    </p:extLst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D800ADA-4C6C-4681-BD83-456E897BCAD1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8538615"/>
      </p:ext>
    </p:extLst>
  </p:cSld>
  <p:clrMapOvr>
    <a:masterClrMapping/>
  </p:clrMapOvr>
  <p:transition/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52774132"/>
      </p:ext>
    </p:extLst>
  </p:cSld>
  <p:clrMapOvr>
    <a:masterClrMapping/>
  </p:clrMapOvr>
  <p:transition/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6792817"/>
      </p:ext>
    </p:extLst>
  </p:cSld>
  <p:clrMapOvr>
    <a:masterClrMapping/>
  </p:clrMapOvr>
  <p:transition/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04471929"/>
      </p:ext>
    </p:extLst>
  </p:cSld>
  <p:clrMapOvr>
    <a:masterClrMapping/>
  </p:clrMapOvr>
  <p:transition/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880903"/>
      </p:ext>
    </p:extLst>
  </p:cSld>
  <p:clrMapOvr>
    <a:masterClrMapping/>
  </p:clrMapOvr>
  <p:transition/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078290"/>
      </p:ext>
    </p:extLst>
  </p:cSld>
  <p:clrMapOvr>
    <a:masterClrMapping/>
  </p:clrMapOvr>
  <p:transition/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60746754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7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21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0603455"/>
      </p:ext>
    </p:extLst>
  </p:cSld>
  <p:clrMapOvr>
    <a:masterClrMapping/>
  </p:clrMapOvr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742950" y="2130438"/>
            <a:ext cx="84201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485901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371358" indent="0" algn="ctr">
              <a:buNone/>
              <a:defRPr/>
            </a:lvl2pPr>
            <a:lvl3pPr marL="742714" indent="0" algn="ctr">
              <a:buNone/>
              <a:defRPr/>
            </a:lvl3pPr>
            <a:lvl4pPr marL="1114072" indent="0" algn="ctr">
              <a:buNone/>
              <a:defRPr/>
            </a:lvl4pPr>
            <a:lvl5pPr marL="1485427" indent="0" algn="ctr">
              <a:buNone/>
              <a:defRPr/>
            </a:lvl5pPr>
            <a:lvl6pPr marL="1856785" indent="0" algn="ctr">
              <a:buNone/>
              <a:defRPr/>
            </a:lvl6pPr>
            <a:lvl7pPr marL="2228142" indent="0" algn="ctr">
              <a:buNone/>
              <a:defRPr/>
            </a:lvl7pPr>
            <a:lvl8pPr marL="2599499" indent="0" algn="ctr">
              <a:buNone/>
              <a:defRPr/>
            </a:lvl8pPr>
            <a:lvl9pPr marL="2970856" indent="0" algn="ctr">
              <a:buNone/>
              <a:defRPr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318A9D2F-9DF2-4808-A985-20DDCB0510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0900184"/>
      </p:ext>
    </p:extLst>
  </p:cSld>
  <p:clrMapOvr>
    <a:masterClrMapping/>
  </p:clrMapOvr>
  <p:transition/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850299A0-3206-4FA3-BAA0-A79629653917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70979197"/>
      </p:ext>
    </p:extLst>
  </p:cSld>
  <p:clrMapOvr>
    <a:masterClrMapping/>
  </p:clrMapOvr>
  <p:transition/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0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1358" indent="0">
              <a:buNone/>
              <a:defRPr sz="1463"/>
            </a:lvl2pPr>
            <a:lvl3pPr marL="742714" indent="0">
              <a:buNone/>
              <a:defRPr sz="1300"/>
            </a:lvl3pPr>
            <a:lvl4pPr marL="1114072" indent="0">
              <a:buNone/>
              <a:defRPr sz="1138"/>
            </a:lvl4pPr>
            <a:lvl5pPr marL="1485427" indent="0">
              <a:buNone/>
              <a:defRPr sz="1138"/>
            </a:lvl5pPr>
            <a:lvl6pPr marL="1856785" indent="0">
              <a:buNone/>
              <a:defRPr sz="1138"/>
            </a:lvl6pPr>
            <a:lvl7pPr marL="2228142" indent="0">
              <a:buNone/>
              <a:defRPr sz="1138"/>
            </a:lvl7pPr>
            <a:lvl8pPr marL="2599499" indent="0">
              <a:buNone/>
              <a:defRPr sz="1138"/>
            </a:lvl8pPr>
            <a:lvl9pPr marL="2970856" indent="0">
              <a:buNone/>
              <a:defRPr sz="113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510A18B-43BD-4196-B36E-EB675483495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50259303"/>
      </p:ext>
    </p:extLst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862BEF5-D853-4FD3-B520-0723BD979AD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595327"/>
      </p:ext>
    </p:extLst>
  </p:cSld>
  <p:clrMapOvr>
    <a:masterClrMapping/>
  </p:clrMapOvr>
  <p:transition/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7" y="1125541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02" y="1125541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3"/>
            </a:lvl4pPr>
            <a:lvl5pPr>
              <a:defRPr sz="1463"/>
            </a:lvl5pPr>
            <a:lvl6pPr>
              <a:defRPr sz="1463"/>
            </a:lvl6pPr>
            <a:lvl7pPr>
              <a:defRPr sz="1463"/>
            </a:lvl7pPr>
            <a:lvl8pPr>
              <a:defRPr sz="1463"/>
            </a:lvl8pPr>
            <a:lvl9pPr>
              <a:defRPr sz="1463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3A431EC-2580-416D-B642-64BE0171AC3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8045973"/>
      </p:ext>
    </p:extLst>
  </p:cSld>
  <p:clrMapOvr>
    <a:masterClrMapping/>
  </p:clrMapOvr>
  <p:transition/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5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5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9" y="1535113"/>
            <a:ext cx="4378589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1358" indent="0">
              <a:buNone/>
              <a:defRPr sz="1625" b="1"/>
            </a:lvl2pPr>
            <a:lvl3pPr marL="742714" indent="0">
              <a:buNone/>
              <a:defRPr sz="1463" b="1"/>
            </a:lvl3pPr>
            <a:lvl4pPr marL="1114072" indent="0">
              <a:buNone/>
              <a:defRPr sz="1300" b="1"/>
            </a:lvl4pPr>
            <a:lvl5pPr marL="1485427" indent="0">
              <a:buNone/>
              <a:defRPr sz="1300" b="1"/>
            </a:lvl5pPr>
            <a:lvl6pPr marL="1856785" indent="0">
              <a:buNone/>
              <a:defRPr sz="1300" b="1"/>
            </a:lvl6pPr>
            <a:lvl7pPr marL="2228142" indent="0">
              <a:buNone/>
              <a:defRPr sz="1300" b="1"/>
            </a:lvl7pPr>
            <a:lvl8pPr marL="2599499" indent="0">
              <a:buNone/>
              <a:defRPr sz="1300" b="1"/>
            </a:lvl8pPr>
            <a:lvl9pPr marL="2970856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9" y="2174875"/>
            <a:ext cx="4378589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3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BC041BC-8ED9-4BC0-AFB0-FB6C28FF57A9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2432972"/>
      </p:ext>
    </p:extLst>
  </p:cSld>
  <p:clrMapOvr>
    <a:masterClrMapping/>
  </p:clrMapOvr>
  <p:transition/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A5B77059-F118-4308-813F-F9E89EC11A1C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79191026"/>
      </p:ext>
    </p:extLst>
  </p:cSld>
  <p:clrMapOvr>
    <a:masterClrMapping/>
  </p:clrMapOvr>
  <p:transition/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6E947AF-AB77-4FC5-A1FF-488D6E79FA05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0958803"/>
      </p:ext>
    </p:extLst>
  </p:cSld>
  <p:clrMapOvr>
    <a:masterClrMapping/>
  </p:clrMapOvr>
  <p:transition/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8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273058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8" y="1435103"/>
            <a:ext cx="3259006" cy="4691063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9115791D-34B4-4D8E-83BC-DE4469ED4DBE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89490472"/>
      </p:ext>
    </p:extLst>
  </p:cSld>
  <p:clrMapOvr>
    <a:masterClrMapping/>
  </p:clrMapOvr>
  <p:transition/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358" indent="0">
              <a:buNone/>
              <a:defRPr sz="2275"/>
            </a:lvl2pPr>
            <a:lvl3pPr marL="742714" indent="0">
              <a:buNone/>
              <a:defRPr sz="1950"/>
            </a:lvl3pPr>
            <a:lvl4pPr marL="1114072" indent="0">
              <a:buNone/>
              <a:defRPr sz="1625"/>
            </a:lvl4pPr>
            <a:lvl5pPr marL="1485427" indent="0">
              <a:buNone/>
              <a:defRPr sz="1625"/>
            </a:lvl5pPr>
            <a:lvl6pPr marL="1856785" indent="0">
              <a:buNone/>
              <a:defRPr sz="1625"/>
            </a:lvl6pPr>
            <a:lvl7pPr marL="2228142" indent="0">
              <a:buNone/>
              <a:defRPr sz="1625"/>
            </a:lvl7pPr>
            <a:lvl8pPr marL="2599499" indent="0">
              <a:buNone/>
              <a:defRPr sz="1625"/>
            </a:lvl8pPr>
            <a:lvl9pPr marL="2970856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8"/>
            </a:lvl1pPr>
            <a:lvl2pPr marL="371358" indent="0">
              <a:buNone/>
              <a:defRPr sz="975"/>
            </a:lvl2pPr>
            <a:lvl3pPr marL="742714" indent="0">
              <a:buNone/>
              <a:defRPr sz="813"/>
            </a:lvl3pPr>
            <a:lvl4pPr marL="1114072" indent="0">
              <a:buNone/>
              <a:defRPr sz="731"/>
            </a:lvl4pPr>
            <a:lvl5pPr marL="1485427" indent="0">
              <a:buNone/>
              <a:defRPr sz="731"/>
            </a:lvl5pPr>
            <a:lvl6pPr marL="1856785" indent="0">
              <a:buNone/>
              <a:defRPr sz="731"/>
            </a:lvl6pPr>
            <a:lvl7pPr marL="2228142" indent="0">
              <a:buNone/>
              <a:defRPr sz="731"/>
            </a:lvl7pPr>
            <a:lvl8pPr marL="2599499" indent="0">
              <a:buNone/>
              <a:defRPr sz="731"/>
            </a:lvl8pPr>
            <a:lvl9pPr marL="2970856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47F1292-45A6-49EF-96F7-13DE73BADD3B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5838234"/>
      </p:ext>
    </p:extLst>
  </p:cSld>
  <p:clrMapOvr>
    <a:masterClrMapping/>
  </p:clrMapOvr>
  <p:transition/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67CC3-F5DE-4E89-B4B2-981C13881D40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85659455"/>
      </p:ext>
    </p:extLst>
  </p:cSld>
  <p:clrMapOvr>
    <a:masterClrMapping/>
  </p:clrMapOvr>
  <p:transition/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3" y="3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3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CFC7836-781A-4EC0-AB51-156602D5300A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21767560"/>
      </p:ext>
    </p:extLst>
  </p:cSld>
  <p:clrMapOvr>
    <a:masterClrMapping/>
  </p:clrMapOvr>
  <p:transition/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2A36C29A-E100-4ECF-B446-9F3262DD130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44453353"/>
      </p:ext>
    </p:extLst>
  </p:cSld>
  <p:clrMapOvr>
    <a:masterClrMapping/>
  </p:clrMapOvr>
  <p:transition/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41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36929F-D227-4C2E-94C7-10FBE4E0FE3D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34891838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D74F25FE-31FB-4D95-9159-CD3AC039AFF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4610102"/>
      </p:ext>
    </p:extLst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1500220-629A-40C5-B3A4-93B5DED3565E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947005"/>
      </p:ext>
    </p:extLst>
  </p:cSld>
  <p:clrMapOvr>
    <a:masterClrMapping/>
  </p:clrMapOvr>
  <p:transition/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7"/>
            <a:ext cx="8495771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2" y="1557338"/>
            <a:ext cx="4177375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49816" y="1557345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49816" y="3897323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5A991CA8-E4AA-4A21-A5F9-0F73455E02A3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0781779"/>
      </p:ext>
    </p:extLst>
  </p:cSld>
  <p:clrMapOvr>
    <a:masterClrMapping/>
  </p:clrMapOvr>
  <p:transition>
    <p:wipe dir="r"/>
  </p:transition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5631829"/>
      </p:ext>
    </p:extLst>
  </p:cSld>
  <p:clrMapOvr>
    <a:masterClrMapping/>
  </p:clrMapOvr>
  <p:transition>
    <p:fade/>
  </p:transition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82794976"/>
      </p:ext>
    </p:extLst>
  </p:cSld>
  <p:clrMapOvr>
    <a:masterClrMapping/>
  </p:clrMapOvr>
  <p:transition/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399106"/>
      </p:ext>
    </p:extLst>
  </p:cSld>
  <p:clrMapOvr>
    <a:masterClrMapping/>
  </p:clrMapOvr>
  <p:transition/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3278650"/>
      </p:ext>
    </p:extLst>
  </p:cSld>
  <p:clrMapOvr>
    <a:masterClrMapping/>
  </p:clrMapOvr>
  <p:transition/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1485416"/>
      </p:ext>
    </p:extLst>
  </p:cSld>
  <p:clrMapOvr>
    <a:masterClrMapping/>
  </p:clrMapOvr>
  <p:transition/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5469712"/>
      </p:ext>
    </p:extLst>
  </p:cSld>
  <p:clrMapOvr>
    <a:masterClrMapping/>
  </p:clrMapOvr>
  <p:transition/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1885079"/>
      </p:ext>
    </p:extLst>
  </p:cSld>
  <p:clrMapOvr>
    <a:masterClrMapping/>
  </p:clrMapOvr>
  <p:transition/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7439381"/>
      </p:ext>
    </p:extLst>
  </p:cSld>
  <p:clrMapOvr>
    <a:masterClrMapping/>
  </p:clrMapOvr>
  <p:transition/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680554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A5A8E4A-22A8-420C-A3B8-1432848D257D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7991072"/>
      </p:ext>
    </p:extLst>
  </p:cSld>
  <p:clrMapOvr>
    <a:masterClrMapping/>
  </p:clrMapOvr>
  <p:transition/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56658"/>
      </p:ext>
    </p:extLst>
  </p:cSld>
  <p:clrMapOvr>
    <a:masterClrMapping/>
  </p:clrMapOvr>
  <p:transition/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799916"/>
      </p:ext>
    </p:extLst>
  </p:cSld>
  <p:clrMapOvr>
    <a:masterClrMapping/>
  </p:clrMapOvr>
  <p:transition/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4672896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7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21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8138649"/>
      </p:ext>
    </p:extLst>
  </p:cSld>
  <p:clrMapOvr>
    <a:masterClrMapping/>
  </p:clrMapOvr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32051553"/>
      </p:ext>
    </p:extLst>
  </p:cSld>
  <p:clrMapOvr>
    <a:masterClrMapping/>
  </p:clrMapOvr>
  <p:transition>
    <p:fade/>
  </p:transition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7523431"/>
      </p:ext>
    </p:extLst>
  </p:cSld>
  <p:clrMapOvr>
    <a:masterClrMapping/>
  </p:clrMapOvr>
  <p:transition/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8109401"/>
      </p:ext>
    </p:extLst>
  </p:cSld>
  <p:clrMapOvr>
    <a:masterClrMapping/>
  </p:clrMapOvr>
  <p:transition/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6695352"/>
      </p:ext>
    </p:extLst>
  </p:cSld>
  <p:clrMapOvr>
    <a:masterClrMapping/>
  </p:clrMapOvr>
  <p:transition/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6940856"/>
      </p:ext>
    </p:extLst>
  </p:cSld>
  <p:clrMapOvr>
    <a:masterClrMapping/>
  </p:clrMapOvr>
  <p:transition/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8334451"/>
      </p:ext>
    </p:extLst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4DE808-A18C-45BC-8F71-04D3A1881448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2182799"/>
      </p:ext>
    </p:extLst>
  </p:cSld>
  <p:clrMapOvr>
    <a:masterClrMapping/>
  </p:clrMapOvr>
  <p:transition/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2598958"/>
      </p:ext>
    </p:extLst>
  </p:cSld>
  <p:clrMapOvr>
    <a:masterClrMapping/>
  </p:clrMapOvr>
  <p:transition/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771529"/>
      </p:ext>
    </p:extLst>
  </p:cSld>
  <p:clrMapOvr>
    <a:masterClrMapping/>
  </p:clrMapOvr>
  <p:transition/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424955"/>
      </p:ext>
    </p:extLst>
  </p:cSld>
  <p:clrMapOvr>
    <a:masterClrMapping/>
  </p:clrMapOvr>
  <p:transition/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1286995"/>
      </p:ext>
    </p:extLst>
  </p:cSld>
  <p:clrMapOvr>
    <a:masterClrMapping/>
  </p:clrMapOvr>
  <p:transition/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8752729"/>
      </p:ext>
    </p:extLst>
  </p:cSld>
  <p:clrMapOvr>
    <a:masterClrMapping/>
  </p:clrMapOvr>
  <p:transition/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6829188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7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21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009443"/>
      </p:ext>
    </p:extLst>
  </p:cSld>
  <p:clrMapOvr>
    <a:masterClrMapping/>
  </p:clrMapOvr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761490262"/>
      </p:ext>
    </p:extLst>
  </p:cSld>
  <p:clrMapOvr>
    <a:masterClrMapping/>
  </p:clrMapOvr>
  <p:transition>
    <p:fade/>
  </p:transition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3994246"/>
      </p:ext>
    </p:extLst>
  </p:cSld>
  <p:clrMapOvr>
    <a:masterClrMapping/>
  </p:clrMapOvr>
  <p:transition/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6339875"/>
      </p:ext>
    </p:extLst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9660621-1153-4A09-9F4A-9E122F981D60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86470379"/>
      </p:ext>
    </p:extLst>
  </p:cSld>
  <p:clrMapOvr>
    <a:masterClrMapping/>
  </p:clrMapOvr>
  <p:transition/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6135454"/>
      </p:ext>
    </p:extLst>
  </p:cSld>
  <p:clrMapOvr>
    <a:masterClrMapping/>
  </p:clrMapOvr>
  <p:transition/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7102560"/>
      </p:ext>
    </p:extLst>
  </p:cSld>
  <p:clrMapOvr>
    <a:masterClrMapping/>
  </p:clrMapOvr>
  <p:transition/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3470301"/>
      </p:ext>
    </p:extLst>
  </p:cSld>
  <p:clrMapOvr>
    <a:masterClrMapping/>
  </p:clrMapOvr>
  <p:transition/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784297"/>
      </p:ext>
    </p:extLst>
  </p:cSld>
  <p:clrMapOvr>
    <a:masterClrMapping/>
  </p:clrMapOvr>
  <p:transition/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66330212"/>
      </p:ext>
    </p:extLst>
  </p:cSld>
  <p:clrMapOvr>
    <a:masterClrMapping/>
  </p:clrMapOvr>
  <p:transition/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43201865"/>
      </p:ext>
    </p:extLst>
  </p:cSld>
  <p:clrMapOvr>
    <a:masterClrMapping/>
  </p:clrMapOvr>
  <p:transition/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0321386"/>
      </p:ext>
    </p:extLst>
  </p:cSld>
  <p:clrMapOvr>
    <a:masterClrMapping/>
  </p:clrMapOvr>
  <p:transition/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29166712"/>
      </p:ext>
    </p:extLst>
  </p:cSld>
  <p:clrMapOvr>
    <a:masterClrMapping/>
  </p:clrMapOvr>
  <p:transition/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393161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писок_номер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/>
          </p:nvPr>
        </p:nvSpPr>
        <p:spPr>
          <a:xfrm>
            <a:off x="388677" y="1178751"/>
            <a:ext cx="9142413" cy="1138773"/>
          </a:xfrm>
        </p:spPr>
        <p:txBody>
          <a:bodyPr/>
          <a:lstStyle>
            <a:lvl1pPr marL="287338" indent="-287338">
              <a:buFont typeface="+mj-lt"/>
              <a:buAutoNum type="arabicPeriod"/>
              <a:defRPr/>
            </a:lvl1pPr>
            <a:lvl2pPr marL="576000" indent="-288000">
              <a:buSzPct val="75000"/>
              <a:buFont typeface="Wingdings" pitchFamily="2" charset="2"/>
              <a:buChar char="p"/>
              <a:defRPr lang="ru-RU" sz="2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1750" indent="-285750">
              <a:buClr>
                <a:schemeClr val="accent2">
                  <a:lumMod val="50000"/>
                </a:schemeClr>
              </a:buClr>
              <a:buSzPct val="75000"/>
              <a:buFont typeface="Wingdings" pitchFamily="2" charset="2"/>
              <a:buChar char="p"/>
              <a:defRPr lang="ru-RU" sz="18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-20638" y="6513521"/>
            <a:ext cx="9799638" cy="29368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prstClr val="white"/>
                </a:solidFill>
                <a:latin typeface="Arial" charset="0"/>
                <a:cs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ru-RU" dirty="0"/>
              <a:t>© АНО ДПО «Техническая академия Росатома»</a:t>
            </a:r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fld id="{C89D6E52-5472-40F8-8277-D56F31AE7226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6381733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926B81-5343-4948-999C-5501464627CB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190444"/>
      </p:ext>
    </p:extLst>
  </p:cSld>
  <p:clrMapOvr>
    <a:masterClrMapping/>
  </p:clrMapOvr>
  <p:transition/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6" y="293701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5" y="218126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5" y="3284559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111523483"/>
      </p:ext>
    </p:extLst>
  </p:cSld>
  <p:clrMapOvr>
    <a:masterClrMapping/>
  </p:clrMapOvr>
  <p:transition>
    <p:fade/>
  </p:transition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9386404"/>
      </p:ext>
    </p:extLst>
  </p:cSld>
  <p:clrMapOvr>
    <a:masterClrMapping/>
  </p:clrMapOvr>
  <p:transition/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7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6624" indent="0">
              <a:buNone/>
              <a:defRPr sz="1800"/>
            </a:lvl2pPr>
            <a:lvl3pPr marL="913238" indent="0">
              <a:buNone/>
              <a:defRPr sz="1600"/>
            </a:lvl3pPr>
            <a:lvl4pPr marL="1369857" indent="0">
              <a:buNone/>
              <a:defRPr sz="1400"/>
            </a:lvl4pPr>
            <a:lvl5pPr marL="1826476" indent="0">
              <a:buNone/>
              <a:defRPr sz="1400"/>
            </a:lvl5pPr>
            <a:lvl6pPr marL="2283095" indent="0">
              <a:buNone/>
              <a:defRPr sz="1400"/>
            </a:lvl6pPr>
            <a:lvl7pPr marL="2739713" indent="0">
              <a:buNone/>
              <a:defRPr sz="1400"/>
            </a:lvl7pPr>
            <a:lvl8pPr marL="3196333" indent="0">
              <a:buNone/>
              <a:defRPr sz="1400"/>
            </a:lvl8pPr>
            <a:lvl9pPr marL="3652951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9505320"/>
      </p:ext>
    </p:extLst>
  </p:cSld>
  <p:clrMapOvr>
    <a:masterClrMapping/>
  </p:clrMapOvr>
  <p:transition/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51" y="112554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24" y="112554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4635646"/>
      </p:ext>
    </p:extLst>
  </p:cSld>
  <p:clrMapOvr>
    <a:masterClrMapping/>
  </p:clrMapOvr>
  <p:transition/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7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6624" indent="0">
              <a:buNone/>
              <a:defRPr sz="2000" b="1"/>
            </a:lvl2pPr>
            <a:lvl3pPr marL="913238" indent="0">
              <a:buNone/>
              <a:defRPr sz="1800" b="1"/>
            </a:lvl3pPr>
            <a:lvl4pPr marL="1369857" indent="0">
              <a:buNone/>
              <a:defRPr sz="1600" b="1"/>
            </a:lvl4pPr>
            <a:lvl5pPr marL="1826476" indent="0">
              <a:buNone/>
              <a:defRPr sz="1600" b="1"/>
            </a:lvl5pPr>
            <a:lvl6pPr marL="2283095" indent="0">
              <a:buNone/>
              <a:defRPr sz="1600" b="1"/>
            </a:lvl6pPr>
            <a:lvl7pPr marL="2739713" indent="0">
              <a:buNone/>
              <a:defRPr sz="1600" b="1"/>
            </a:lvl7pPr>
            <a:lvl8pPr marL="3196333" indent="0">
              <a:buNone/>
              <a:defRPr sz="1600" b="1"/>
            </a:lvl8pPr>
            <a:lvl9pPr marL="3652951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7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2640468"/>
      </p:ext>
    </p:extLst>
  </p:cSld>
  <p:clrMapOvr>
    <a:masterClrMapping/>
  </p:clrMapOvr>
  <p:transition/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8258994"/>
      </p:ext>
    </p:extLst>
  </p:cSld>
  <p:clrMapOvr>
    <a:masterClrMapping/>
  </p:clrMapOvr>
  <p:transition/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0470316"/>
      </p:ext>
    </p:extLst>
  </p:cSld>
  <p:clrMapOvr>
    <a:masterClrMapping/>
  </p:clrMapOvr>
  <p:transition/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2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8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20" y="1435103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4842304"/>
      </p:ext>
    </p:extLst>
  </p:cSld>
  <p:clrMapOvr>
    <a:masterClrMapping/>
  </p:clrMapOvr>
  <p:transition/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6624" indent="0">
              <a:buNone/>
              <a:defRPr sz="2800"/>
            </a:lvl2pPr>
            <a:lvl3pPr marL="913238" indent="0">
              <a:buNone/>
              <a:defRPr sz="2400"/>
            </a:lvl3pPr>
            <a:lvl4pPr marL="1369857" indent="0">
              <a:buNone/>
              <a:defRPr sz="2000"/>
            </a:lvl4pPr>
            <a:lvl5pPr marL="1826476" indent="0">
              <a:buNone/>
              <a:defRPr sz="2000"/>
            </a:lvl5pPr>
            <a:lvl6pPr marL="2283095" indent="0">
              <a:buNone/>
              <a:defRPr sz="2000"/>
            </a:lvl6pPr>
            <a:lvl7pPr marL="2739713" indent="0">
              <a:buNone/>
              <a:defRPr sz="2000"/>
            </a:lvl7pPr>
            <a:lvl8pPr marL="3196333" indent="0">
              <a:buNone/>
              <a:defRPr sz="2000"/>
            </a:lvl8pPr>
            <a:lvl9pPr marL="3652951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6624" indent="0">
              <a:buNone/>
              <a:defRPr sz="1200"/>
            </a:lvl2pPr>
            <a:lvl3pPr marL="913238" indent="0">
              <a:buNone/>
              <a:defRPr sz="1000"/>
            </a:lvl3pPr>
            <a:lvl4pPr marL="1369857" indent="0">
              <a:buNone/>
              <a:defRPr sz="900"/>
            </a:lvl4pPr>
            <a:lvl5pPr marL="1826476" indent="0">
              <a:buNone/>
              <a:defRPr sz="900"/>
            </a:lvl5pPr>
            <a:lvl6pPr marL="2283095" indent="0">
              <a:buNone/>
              <a:defRPr sz="900"/>
            </a:lvl6pPr>
            <a:lvl7pPr marL="2739713" indent="0">
              <a:buNone/>
              <a:defRPr sz="900"/>
            </a:lvl7pPr>
            <a:lvl8pPr marL="3196333" indent="0">
              <a:buNone/>
              <a:defRPr sz="900"/>
            </a:lvl8pPr>
            <a:lvl9pPr marL="3652951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6746755"/>
      </p:ext>
    </p:extLst>
  </p:cSld>
  <p:clrMapOvr>
    <a:masterClrMapping/>
  </p:clrMapOvr>
  <p:transition/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3850851"/>
      </p:ext>
    </p:extLst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>
            <a:spLocks/>
          </p:cNvSpPr>
          <p:nvPr userDrawn="1"/>
        </p:nvSpPr>
        <p:spPr bwMode="auto">
          <a:xfrm>
            <a:off x="9412422" y="6826250"/>
            <a:ext cx="189177" cy="133350"/>
          </a:xfrm>
          <a:prstGeom prst="flowChartProcess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ru-RU" sz="731" smtClean="0">
                <a:solidFill>
                  <a:srgbClr val="414142"/>
                </a:solidFill>
              </a:rPr>
              <a:t>‹#›</a:t>
            </a:r>
          </a:p>
          <a:p>
            <a:pPr algn="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endParaRPr lang="en-US" altLang="ru-RU" sz="731" smtClean="0">
              <a:solidFill>
                <a:srgbClr val="414142"/>
              </a:solidFill>
            </a:endParaRPr>
          </a:p>
        </p:txBody>
      </p:sp>
      <p:pic>
        <p:nvPicPr>
          <p:cNvPr id="5" name="Picture 47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37" y="115889"/>
            <a:ext cx="1002638" cy="720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4590000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579871"/>
      </p:ext>
    </p:extLst>
  </p:cSld>
  <p:clrMapOvr>
    <a:masterClrMapping/>
  </p:clrMapOvr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60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626999"/>
      </p:ext>
    </p:extLst>
  </p:cSld>
  <p:clrMapOvr>
    <a:masterClrMapping/>
  </p:clrMapOvr>
  <p:transition/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Основн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6238" y="6566446"/>
            <a:ext cx="230760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42C328C1-A84F-4A39-A664-DBA00541A8C6}" type="slidenum">
              <a:rPr lang="en-US" sz="1000" smtClean="0">
                <a:solidFill>
                  <a:srgbClr val="000000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125730" y="6463092"/>
            <a:ext cx="9253721" cy="395672"/>
          </a:xfrm>
          <a:prstGeom prst="rect">
            <a:avLst/>
          </a:prstGeom>
        </p:spPr>
        <p:txBody>
          <a:bodyPr lIns="93296" tIns="46648" rIns="93296" bIns="46648"/>
          <a:lstStyle>
            <a:lvl1pPr>
              <a:defRPr sz="700"/>
            </a:lvl1pPr>
          </a:lstStyle>
          <a:p>
            <a:pPr lvl="0"/>
            <a:r>
              <a:rPr lang="ru-RU" dirty="0" smtClean="0"/>
              <a:t>Сноски</a:t>
            </a:r>
          </a:p>
          <a:p>
            <a:pPr lvl="0"/>
            <a:r>
              <a:rPr lang="ru-RU" dirty="0" smtClean="0"/>
              <a:t>Источники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9631021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AndTwoObj">
  <p:cSld name="Заголовок, 1 большой объект и 2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2"/>
            <a:ext cx="8495771" cy="98107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557338"/>
            <a:ext cx="4177373" cy="452755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849814" y="1557341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849814" y="3897316"/>
            <a:ext cx="4179094" cy="2187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72ECB3DC-24F2-4543-BF74-85A4523093D8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6558901"/>
      </p:ext>
    </p:extLst>
  </p:cSld>
  <p:clrMapOvr>
    <a:masterClrMapping/>
  </p:clrMapOvr>
  <p:transition>
    <p:wipe dir="r"/>
  </p:transition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612303117"/>
      </p:ext>
    </p:extLst>
  </p:cSld>
  <p:clrMapOvr>
    <a:masterClrMapping/>
  </p:clrMapOvr>
  <p:transition>
    <p:fade/>
  </p:transition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1413345"/>
      </p:ext>
    </p:extLst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7198907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3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82C6A24-F428-47B5-8CD5-F95B8372AD94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6800935"/>
      </p:ext>
    </p:extLst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108848"/>
      </p:ext>
    </p:extLst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87561334"/>
      </p:ext>
    </p:extLst>
  </p:cSld>
  <p:clrMapOvr>
    <a:masterClrMapping/>
  </p:clrMapOvr>
  <p:transition/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9907737"/>
      </p:ext>
    </p:extLst>
  </p:cSld>
  <p:clrMapOvr>
    <a:masterClrMapping/>
  </p:clrMapOvr>
  <p:transition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8387010"/>
      </p:ext>
    </p:extLst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5679395"/>
      </p:ext>
    </p:extLst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2932973"/>
      </p:ext>
    </p:extLst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6644145"/>
      </p:ext>
    </p:extLst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6" y="12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59" y="12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EC653796-D1D7-49FA-9709-CA51B1B1B3FC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82182827"/>
      </p:ext>
    </p:extLst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0"/>
            <a:ext cx="8268758" cy="962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507340" y="1125538"/>
            <a:ext cx="9126934" cy="5148262"/>
          </a:xfrm>
        </p:spPr>
        <p:txBody>
          <a:bodyPr/>
          <a:lstStyle/>
          <a:p>
            <a:pPr lvl="0"/>
            <a:endParaRPr lang="ru-RU" noProof="0" dirty="0" smtClean="0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B5BF9C9-2F48-4FE2-9CF5-955AE983F122}" type="slidenum">
              <a:rPr lang="ru-RU">
                <a:solidFill>
                  <a:srgbClr val="003274"/>
                </a:solidFill>
              </a:rPr>
              <a:pPr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7732328"/>
      </p:ext>
    </p:extLst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5098" y="6565903"/>
            <a:ext cx="232172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B6B83EF-47E3-4482-9018-FB97014F116C}" type="slidenum">
              <a:rPr lang="en-US" sz="812" smtClean="0">
                <a:solidFill>
                  <a:srgbClr val="414142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812" dirty="0">
              <a:solidFill>
                <a:srgbClr val="414142"/>
              </a:solidFill>
            </a:endParaRPr>
          </a:p>
        </p:txBody>
      </p:sp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61490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1464" indent="0">
              <a:buNone/>
              <a:defRPr sz="2275"/>
            </a:lvl2pPr>
            <a:lvl3pPr marL="742927" indent="0">
              <a:buNone/>
              <a:defRPr sz="1950"/>
            </a:lvl3pPr>
            <a:lvl4pPr marL="1114391" indent="0">
              <a:buNone/>
              <a:defRPr sz="1625"/>
            </a:lvl4pPr>
            <a:lvl5pPr marL="1485854" indent="0">
              <a:buNone/>
              <a:defRPr sz="1625"/>
            </a:lvl5pPr>
            <a:lvl6pPr marL="1857318" indent="0">
              <a:buNone/>
              <a:defRPr sz="1625"/>
            </a:lvl6pPr>
            <a:lvl7pPr marL="2228781" indent="0">
              <a:buNone/>
              <a:defRPr sz="1625"/>
            </a:lvl7pPr>
            <a:lvl8pPr marL="2600245" indent="0">
              <a:buNone/>
              <a:defRPr sz="1625"/>
            </a:lvl8pPr>
            <a:lvl9pPr marL="2971709" indent="0">
              <a:buNone/>
              <a:defRPr sz="1625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1464" indent="0">
              <a:buNone/>
              <a:defRPr sz="975"/>
            </a:lvl2pPr>
            <a:lvl3pPr marL="742927" indent="0">
              <a:buNone/>
              <a:defRPr sz="812"/>
            </a:lvl3pPr>
            <a:lvl4pPr marL="1114391" indent="0">
              <a:buNone/>
              <a:defRPr sz="731"/>
            </a:lvl4pPr>
            <a:lvl5pPr marL="1485854" indent="0">
              <a:buNone/>
              <a:defRPr sz="731"/>
            </a:lvl5pPr>
            <a:lvl6pPr marL="1857318" indent="0">
              <a:buNone/>
              <a:defRPr sz="731"/>
            </a:lvl6pPr>
            <a:lvl7pPr marL="2228781" indent="0">
              <a:buNone/>
              <a:defRPr sz="731"/>
            </a:lvl7pPr>
            <a:lvl8pPr marL="2600245" indent="0">
              <a:buNone/>
              <a:defRPr sz="731"/>
            </a:lvl8pPr>
            <a:lvl9pPr marL="2971709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6145C353-A132-4C4E-A23F-5E008E9AB163}" type="slidenum">
              <a:rPr lang="ru-RU">
                <a:solidFill>
                  <a:srgbClr val="003274"/>
                </a:solidFill>
              </a:rPr>
              <a:pPr/>
              <a:t>‹#›</a:t>
            </a:fld>
            <a:endParaRPr 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558950"/>
      </p:ext>
    </p:extLst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852" y="293703"/>
            <a:ext cx="1814381" cy="1481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4" y="2181255"/>
            <a:ext cx="8970433" cy="1031875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lnSpc>
                <a:spcPct val="130000"/>
              </a:lnSpc>
              <a:defRPr sz="1462"/>
            </a:lvl1pPr>
          </a:lstStyle>
          <a:p>
            <a:pPr lvl="0"/>
            <a:r>
              <a:rPr lang="ru-RU" noProof="0" smtClean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61" y="3284554"/>
            <a:ext cx="4055269" cy="649287"/>
          </a:xfrm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marL="0" indent="0">
              <a:buFontTx/>
              <a:buNone/>
              <a:defRPr sz="1137" b="1">
                <a:solidFill>
                  <a:schemeClr val="bg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231951675"/>
      </p:ext>
    </p:extLst>
  </p:cSld>
  <p:clrMapOvr>
    <a:masterClrMapping/>
  </p:clrMapOvr>
  <p:transition>
    <p:fade/>
  </p:transition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000A6DD6-07B0-41D2-A8CB-3435D095D074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1954468"/>
      </p:ext>
    </p:extLst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17"/>
            <a:ext cx="8420100" cy="1362075"/>
          </a:xfrm>
        </p:spPr>
        <p:txBody>
          <a:bodyPr anchor="t"/>
          <a:lstStyle>
            <a:lvl1pPr algn="l">
              <a:defRPr sz="325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1625"/>
            </a:lvl1pPr>
            <a:lvl2pPr marL="370996" indent="0">
              <a:buNone/>
              <a:defRPr sz="1462"/>
            </a:lvl2pPr>
            <a:lvl3pPr marL="741984" indent="0">
              <a:buNone/>
              <a:defRPr sz="1300"/>
            </a:lvl3pPr>
            <a:lvl4pPr marL="1112975" indent="0">
              <a:buNone/>
              <a:defRPr sz="1137"/>
            </a:lvl4pPr>
            <a:lvl5pPr marL="1483966" indent="0">
              <a:buNone/>
              <a:defRPr sz="1137"/>
            </a:lvl5pPr>
            <a:lvl6pPr marL="1854957" indent="0">
              <a:buNone/>
              <a:defRPr sz="1137"/>
            </a:lvl6pPr>
            <a:lvl7pPr marL="2225949" indent="0">
              <a:buNone/>
              <a:defRPr sz="1137"/>
            </a:lvl7pPr>
            <a:lvl8pPr marL="2596941" indent="0">
              <a:buNone/>
              <a:defRPr sz="1137"/>
            </a:lvl8pPr>
            <a:lvl9pPr marL="2967931" indent="0">
              <a:buNone/>
              <a:defRPr sz="1137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06EA35E-D154-4FFB-80A5-44B6CCEEA0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63375564"/>
      </p:ext>
    </p:extLst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507347" y="1125548"/>
            <a:ext cx="448005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152518" y="1125548"/>
            <a:ext cx="4481777" cy="5148262"/>
          </a:xfrm>
        </p:spPr>
        <p:txBody>
          <a:bodyPr/>
          <a:lstStyle>
            <a:lvl1pPr>
              <a:defRPr sz="2275"/>
            </a:lvl1pPr>
            <a:lvl2pPr>
              <a:defRPr sz="1950"/>
            </a:lvl2pPr>
            <a:lvl3pPr>
              <a:defRPr sz="1625"/>
            </a:lvl3pPr>
            <a:lvl4pPr>
              <a:defRPr sz="1462"/>
            </a:lvl4pPr>
            <a:lvl5pPr>
              <a:defRPr sz="1462"/>
            </a:lvl5pPr>
            <a:lvl6pPr>
              <a:defRPr sz="1462"/>
            </a:lvl6pPr>
            <a:lvl7pPr>
              <a:defRPr sz="1462"/>
            </a:lvl7pPr>
            <a:lvl8pPr>
              <a:defRPr sz="1462"/>
            </a:lvl8pPr>
            <a:lvl9pPr>
              <a:defRPr sz="146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EC7A3BA-EFF1-49C1-A6A8-339559C6A82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5589348"/>
      </p:ext>
    </p:extLst>
  </p:cSld>
  <p:clrMapOvr>
    <a:masterClrMapping/>
  </p:clrMapOvr>
  <p:transition/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13" y="1535113"/>
            <a:ext cx="437687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95313" y="2174875"/>
            <a:ext cx="437687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90" cy="639762"/>
          </a:xfrm>
        </p:spPr>
        <p:txBody>
          <a:bodyPr anchor="b"/>
          <a:lstStyle>
            <a:lvl1pPr marL="0" indent="0">
              <a:buNone/>
              <a:defRPr sz="1950" b="1"/>
            </a:lvl1pPr>
            <a:lvl2pPr marL="370996" indent="0">
              <a:buNone/>
              <a:defRPr sz="1625" b="1"/>
            </a:lvl2pPr>
            <a:lvl3pPr marL="741984" indent="0">
              <a:buNone/>
              <a:defRPr sz="1462" b="1"/>
            </a:lvl3pPr>
            <a:lvl4pPr marL="1112975" indent="0">
              <a:buNone/>
              <a:defRPr sz="1300" b="1"/>
            </a:lvl4pPr>
            <a:lvl5pPr marL="1483966" indent="0">
              <a:buNone/>
              <a:defRPr sz="1300" b="1"/>
            </a:lvl5pPr>
            <a:lvl6pPr marL="1854957" indent="0">
              <a:buNone/>
              <a:defRPr sz="1300" b="1"/>
            </a:lvl6pPr>
            <a:lvl7pPr marL="2225949" indent="0">
              <a:buNone/>
              <a:defRPr sz="1300" b="1"/>
            </a:lvl7pPr>
            <a:lvl8pPr marL="2596941" indent="0">
              <a:buNone/>
              <a:defRPr sz="1300" b="1"/>
            </a:lvl8pPr>
            <a:lvl9pPr marL="2967931" indent="0">
              <a:buNone/>
              <a:defRPr sz="13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90" cy="3951288"/>
          </a:xfrm>
        </p:spPr>
        <p:txBody>
          <a:bodyPr/>
          <a:lstStyle>
            <a:lvl1pPr>
              <a:defRPr sz="1950"/>
            </a:lvl1pPr>
            <a:lvl2pPr>
              <a:defRPr sz="1625"/>
            </a:lvl2pPr>
            <a:lvl3pPr>
              <a:defRPr sz="1462"/>
            </a:lvl3pPr>
            <a:lvl4pPr>
              <a:defRPr sz="1300"/>
            </a:lvl4pPr>
            <a:lvl5pPr>
              <a:defRPr sz="1300"/>
            </a:lvl5pPr>
            <a:lvl6pPr>
              <a:defRPr sz="1300"/>
            </a:lvl6pPr>
            <a:lvl7pPr>
              <a:defRPr sz="1300"/>
            </a:lvl7pPr>
            <a:lvl8pPr>
              <a:defRPr sz="1300"/>
            </a:lvl8pPr>
            <a:lvl9pPr>
              <a:defRPr sz="13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D6A17BAE-8F02-4F7E-8AA0-78A2F51F4481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5766511"/>
      </p:ext>
    </p:extLst>
  </p:cSld>
  <p:clrMapOvr>
    <a:masterClrMapping/>
  </p:clrMapOvr>
  <p:transition/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F8990BD3-2D19-4B8B-8806-7C2F58CA84FD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44092037"/>
      </p:ext>
    </p:extLst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29CEEAD-9E71-4B4E-822B-B07E8B1BDB35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6013274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16" y="273050"/>
            <a:ext cx="3259006" cy="1162050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72973" y="273079"/>
            <a:ext cx="5537729" cy="5853113"/>
          </a:xfrm>
        </p:spPr>
        <p:txBody>
          <a:bodyPr/>
          <a:lstStyle>
            <a:lvl1pPr>
              <a:defRPr sz="2600"/>
            </a:lvl1pPr>
            <a:lvl2pPr>
              <a:defRPr sz="2275"/>
            </a:lvl2pPr>
            <a:lvl3pPr>
              <a:defRPr sz="1950"/>
            </a:lvl3pPr>
            <a:lvl4pPr>
              <a:defRPr sz="1625"/>
            </a:lvl4pPr>
            <a:lvl5pPr>
              <a:defRPr sz="1625"/>
            </a:lvl5pPr>
            <a:lvl6pPr>
              <a:defRPr sz="1625"/>
            </a:lvl6pPr>
            <a:lvl7pPr>
              <a:defRPr sz="1625"/>
            </a:lvl7pPr>
            <a:lvl8pPr>
              <a:defRPr sz="1625"/>
            </a:lvl8pPr>
            <a:lvl9pPr>
              <a:defRPr sz="1625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16" y="1435103"/>
            <a:ext cx="3259006" cy="4691063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4C2B5475-B86F-4AA4-9BA1-25A99659AE07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801960"/>
      </p:ext>
    </p:extLst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162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2600"/>
            </a:lvl1pPr>
            <a:lvl2pPr marL="370996" indent="0">
              <a:buNone/>
              <a:defRPr sz="2275"/>
            </a:lvl2pPr>
            <a:lvl3pPr marL="741984" indent="0">
              <a:buNone/>
              <a:defRPr sz="1950"/>
            </a:lvl3pPr>
            <a:lvl4pPr marL="1112975" indent="0">
              <a:buNone/>
              <a:defRPr sz="1625"/>
            </a:lvl4pPr>
            <a:lvl5pPr marL="1483966" indent="0">
              <a:buNone/>
              <a:defRPr sz="1625"/>
            </a:lvl5pPr>
            <a:lvl6pPr marL="1854957" indent="0">
              <a:buNone/>
              <a:defRPr sz="1625"/>
            </a:lvl6pPr>
            <a:lvl7pPr marL="2225949" indent="0">
              <a:buNone/>
              <a:defRPr sz="1625"/>
            </a:lvl7pPr>
            <a:lvl8pPr marL="2596941" indent="0">
              <a:buNone/>
              <a:defRPr sz="1625"/>
            </a:lvl8pPr>
            <a:lvl9pPr marL="2967931" indent="0">
              <a:buNone/>
              <a:defRPr sz="1625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137"/>
            </a:lvl1pPr>
            <a:lvl2pPr marL="370996" indent="0">
              <a:buNone/>
              <a:defRPr sz="975"/>
            </a:lvl2pPr>
            <a:lvl3pPr marL="741984" indent="0">
              <a:buNone/>
              <a:defRPr sz="812"/>
            </a:lvl3pPr>
            <a:lvl4pPr marL="1112975" indent="0">
              <a:buNone/>
              <a:defRPr sz="731"/>
            </a:lvl4pPr>
            <a:lvl5pPr marL="1483966" indent="0">
              <a:buNone/>
              <a:defRPr sz="731"/>
            </a:lvl5pPr>
            <a:lvl6pPr marL="1854957" indent="0">
              <a:buNone/>
              <a:defRPr sz="731"/>
            </a:lvl6pPr>
            <a:lvl7pPr marL="2225949" indent="0">
              <a:buNone/>
              <a:defRPr sz="731"/>
            </a:lvl7pPr>
            <a:lvl8pPr marL="2596941" indent="0">
              <a:buNone/>
              <a:defRPr sz="731"/>
            </a:lvl8pPr>
            <a:lvl9pPr marL="2967931" indent="0">
              <a:buNone/>
              <a:defRPr sz="73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C47B6E71-6DB8-40FC-8197-BBEA551349E0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26449303"/>
      </p:ext>
    </p:extLst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fld id="{7192896C-CDA3-4CDD-9CEE-27DE657223EF}" type="slidenum">
              <a:rPr lang="ru-RU" altLang="ru-RU">
                <a:solidFill>
                  <a:srgbClr val="003274"/>
                </a:solidFill>
              </a:rPr>
              <a:pPr/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5306208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15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image" Target="../media/image12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3.xml"/><Relationship Id="rId13" Type="http://schemas.openxmlformats.org/officeDocument/2006/relationships/slideLayout" Target="../slideLayouts/slideLayout13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28.xml"/><Relationship Id="rId7" Type="http://schemas.openxmlformats.org/officeDocument/2006/relationships/slideLayout" Target="../slideLayouts/slideLayout132.xml"/><Relationship Id="rId12" Type="http://schemas.openxmlformats.org/officeDocument/2006/relationships/slideLayout" Target="../slideLayouts/slideLayout13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27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126.xml"/><Relationship Id="rId6" Type="http://schemas.openxmlformats.org/officeDocument/2006/relationships/slideLayout" Target="../slideLayouts/slideLayout131.xml"/><Relationship Id="rId11" Type="http://schemas.openxmlformats.org/officeDocument/2006/relationships/slideLayout" Target="../slideLayouts/slideLayout136.xml"/><Relationship Id="rId5" Type="http://schemas.openxmlformats.org/officeDocument/2006/relationships/slideLayout" Target="../slideLayouts/slideLayout130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135.xml"/><Relationship Id="rId4" Type="http://schemas.openxmlformats.org/officeDocument/2006/relationships/slideLayout" Target="../slideLayouts/slideLayout129.xml"/><Relationship Id="rId9" Type="http://schemas.openxmlformats.org/officeDocument/2006/relationships/slideLayout" Target="../slideLayouts/slideLayout134.xml"/><Relationship Id="rId1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1.xml"/><Relationship Id="rId7" Type="http://schemas.openxmlformats.org/officeDocument/2006/relationships/slideLayout" Target="../slideLayouts/slideLayout145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4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39.xml"/><Relationship Id="rId6" Type="http://schemas.openxmlformats.org/officeDocument/2006/relationships/slideLayout" Target="../slideLayouts/slideLayout144.xml"/><Relationship Id="rId11" Type="http://schemas.openxmlformats.org/officeDocument/2006/relationships/slideLayout" Target="../slideLayouts/slideLayout149.xml"/><Relationship Id="rId5" Type="http://schemas.openxmlformats.org/officeDocument/2006/relationships/slideLayout" Target="../slideLayouts/slideLayout14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48.xml"/><Relationship Id="rId4" Type="http://schemas.openxmlformats.org/officeDocument/2006/relationships/slideLayout" Target="../slideLayouts/slideLayout142.xml"/><Relationship Id="rId9" Type="http://schemas.openxmlformats.org/officeDocument/2006/relationships/slideLayout" Target="../slideLayouts/slideLayout147.xml"/><Relationship Id="rId14" Type="http://schemas.openxmlformats.org/officeDocument/2006/relationships/image" Target="../media/image2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7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52.xml"/><Relationship Id="rId7" Type="http://schemas.openxmlformats.org/officeDocument/2006/relationships/slideLayout" Target="../slideLayouts/slideLayout156.xml"/><Relationship Id="rId12" Type="http://schemas.openxmlformats.org/officeDocument/2006/relationships/slideLayout" Target="../slideLayouts/slideLayout16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5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50.xml"/><Relationship Id="rId6" Type="http://schemas.openxmlformats.org/officeDocument/2006/relationships/slideLayout" Target="../slideLayouts/slideLayout155.xml"/><Relationship Id="rId11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5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53.xml"/><Relationship Id="rId9" Type="http://schemas.openxmlformats.org/officeDocument/2006/relationships/slideLayout" Target="../slideLayouts/slideLayout158.xml"/><Relationship Id="rId14" Type="http://schemas.openxmlformats.org/officeDocument/2006/relationships/image" Target="../media/image1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theme" Target="../theme/theme14.xml"/><Relationship Id="rId3" Type="http://schemas.openxmlformats.org/officeDocument/2006/relationships/slideLayout" Target="../slideLayouts/slideLayout164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163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5" Type="http://schemas.openxmlformats.org/officeDocument/2006/relationships/slideLayout" Target="../slideLayouts/slideLayout16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71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image" Target="../media/image1.jpe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1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76.xml"/><Relationship Id="rId7" Type="http://schemas.openxmlformats.org/officeDocument/2006/relationships/slideLayout" Target="../slideLayouts/slideLayout180.xml"/><Relationship Id="rId12" Type="http://schemas.openxmlformats.org/officeDocument/2006/relationships/theme" Target="../theme/theme15.xml"/><Relationship Id="rId2" Type="http://schemas.openxmlformats.org/officeDocument/2006/relationships/slideLayout" Target="../slideLayouts/slideLayout175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74.xml"/><Relationship Id="rId6" Type="http://schemas.openxmlformats.org/officeDocument/2006/relationships/slideLayout" Target="../slideLayouts/slideLayout179.xml"/><Relationship Id="rId11" Type="http://schemas.openxmlformats.org/officeDocument/2006/relationships/slideLayout" Target="../slideLayouts/slideLayout184.xml"/><Relationship Id="rId5" Type="http://schemas.openxmlformats.org/officeDocument/2006/relationships/slideLayout" Target="../slideLayouts/slideLayout178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83.xml"/><Relationship Id="rId4" Type="http://schemas.openxmlformats.org/officeDocument/2006/relationships/slideLayout" Target="../slideLayouts/slideLayout177.xml"/><Relationship Id="rId9" Type="http://schemas.openxmlformats.org/officeDocument/2006/relationships/slideLayout" Target="../slideLayouts/slideLayout182.xml"/><Relationship Id="rId14" Type="http://schemas.openxmlformats.org/officeDocument/2006/relationships/image" Target="../media/image9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87.xml"/><Relationship Id="rId7" Type="http://schemas.openxmlformats.org/officeDocument/2006/relationships/slideLayout" Target="../slideLayouts/slideLayout191.xml"/><Relationship Id="rId12" Type="http://schemas.openxmlformats.org/officeDocument/2006/relationships/theme" Target="../theme/theme16.xml"/><Relationship Id="rId2" Type="http://schemas.openxmlformats.org/officeDocument/2006/relationships/slideLayout" Target="../slideLayouts/slideLayout18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85.xml"/><Relationship Id="rId6" Type="http://schemas.openxmlformats.org/officeDocument/2006/relationships/slideLayout" Target="../slideLayouts/slideLayout190.xml"/><Relationship Id="rId11" Type="http://schemas.openxmlformats.org/officeDocument/2006/relationships/slideLayout" Target="../slideLayouts/slideLayout195.xml"/><Relationship Id="rId5" Type="http://schemas.openxmlformats.org/officeDocument/2006/relationships/slideLayout" Target="../slideLayouts/slideLayout18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88.xml"/><Relationship Id="rId9" Type="http://schemas.openxmlformats.org/officeDocument/2006/relationships/slideLayout" Target="../slideLayouts/slideLayout193.xml"/><Relationship Id="rId14" Type="http://schemas.openxmlformats.org/officeDocument/2006/relationships/image" Target="../media/image7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98.xml"/><Relationship Id="rId7" Type="http://schemas.openxmlformats.org/officeDocument/2006/relationships/slideLayout" Target="../slideLayouts/slideLayout202.xml"/><Relationship Id="rId12" Type="http://schemas.openxmlformats.org/officeDocument/2006/relationships/theme" Target="../theme/theme17.xml"/><Relationship Id="rId2" Type="http://schemas.openxmlformats.org/officeDocument/2006/relationships/slideLayout" Target="../slideLayouts/slideLayout19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image" Target="../media/image7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4.xml"/><Relationship Id="rId13" Type="http://schemas.openxmlformats.org/officeDocument/2006/relationships/slideLayout" Target="../slideLayouts/slideLayout21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09.xml"/><Relationship Id="rId7" Type="http://schemas.openxmlformats.org/officeDocument/2006/relationships/slideLayout" Target="../slideLayouts/slideLayout213.xml"/><Relationship Id="rId12" Type="http://schemas.openxmlformats.org/officeDocument/2006/relationships/slideLayout" Target="../slideLayouts/slideLayout21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08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07.xml"/><Relationship Id="rId6" Type="http://schemas.openxmlformats.org/officeDocument/2006/relationships/slideLayout" Target="../slideLayouts/slideLayout212.xml"/><Relationship Id="rId11" Type="http://schemas.openxmlformats.org/officeDocument/2006/relationships/slideLayout" Target="../slideLayouts/slideLayout217.xml"/><Relationship Id="rId5" Type="http://schemas.openxmlformats.org/officeDocument/2006/relationships/slideLayout" Target="../slideLayouts/slideLayout211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16.xml"/><Relationship Id="rId4" Type="http://schemas.openxmlformats.org/officeDocument/2006/relationships/slideLayout" Target="../slideLayouts/slideLayout210.xml"/><Relationship Id="rId9" Type="http://schemas.openxmlformats.org/officeDocument/2006/relationships/slideLayout" Target="../slideLayouts/slideLayout215.xml"/><Relationship Id="rId14" Type="http://schemas.openxmlformats.org/officeDocument/2006/relationships/theme" Target="../theme/theme18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7.xml"/><Relationship Id="rId13" Type="http://schemas.openxmlformats.org/officeDocument/2006/relationships/slideLayout" Target="../slideLayouts/slideLayout232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22.xml"/><Relationship Id="rId7" Type="http://schemas.openxmlformats.org/officeDocument/2006/relationships/slideLayout" Target="../slideLayouts/slideLayout226.xml"/><Relationship Id="rId12" Type="http://schemas.openxmlformats.org/officeDocument/2006/relationships/slideLayout" Target="../slideLayouts/slideLayout23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21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20.xml"/><Relationship Id="rId6" Type="http://schemas.openxmlformats.org/officeDocument/2006/relationships/slideLayout" Target="../slideLayouts/slideLayout225.xml"/><Relationship Id="rId11" Type="http://schemas.openxmlformats.org/officeDocument/2006/relationships/slideLayout" Target="../slideLayouts/slideLayout230.xml"/><Relationship Id="rId5" Type="http://schemas.openxmlformats.org/officeDocument/2006/relationships/slideLayout" Target="../slideLayouts/slideLayout224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29.xml"/><Relationship Id="rId4" Type="http://schemas.openxmlformats.org/officeDocument/2006/relationships/slideLayout" Target="../slideLayouts/slideLayout223.xml"/><Relationship Id="rId9" Type="http://schemas.openxmlformats.org/officeDocument/2006/relationships/slideLayout" Target="../slideLayouts/slideLayout228.xml"/><Relationship Id="rId14" Type="http://schemas.openxmlformats.org/officeDocument/2006/relationships/theme" Target="../theme/theme1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7.pn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0.xml"/><Relationship Id="rId13" Type="http://schemas.openxmlformats.org/officeDocument/2006/relationships/slideLayout" Target="../slideLayouts/slideLayout245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35.xml"/><Relationship Id="rId7" Type="http://schemas.openxmlformats.org/officeDocument/2006/relationships/slideLayout" Target="../slideLayouts/slideLayout239.xml"/><Relationship Id="rId12" Type="http://schemas.openxmlformats.org/officeDocument/2006/relationships/slideLayout" Target="../slideLayouts/slideLayout244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34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33.xml"/><Relationship Id="rId6" Type="http://schemas.openxmlformats.org/officeDocument/2006/relationships/slideLayout" Target="../slideLayouts/slideLayout238.xml"/><Relationship Id="rId11" Type="http://schemas.openxmlformats.org/officeDocument/2006/relationships/slideLayout" Target="../slideLayouts/slideLayout243.xml"/><Relationship Id="rId5" Type="http://schemas.openxmlformats.org/officeDocument/2006/relationships/slideLayout" Target="../slideLayouts/slideLayout237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42.xml"/><Relationship Id="rId4" Type="http://schemas.openxmlformats.org/officeDocument/2006/relationships/slideLayout" Target="../slideLayouts/slideLayout236.xml"/><Relationship Id="rId9" Type="http://schemas.openxmlformats.org/officeDocument/2006/relationships/slideLayout" Target="../slideLayouts/slideLayout241.xml"/><Relationship Id="rId14" Type="http://schemas.openxmlformats.org/officeDocument/2006/relationships/theme" Target="../theme/theme20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3.xml"/><Relationship Id="rId13" Type="http://schemas.openxmlformats.org/officeDocument/2006/relationships/slideLayout" Target="../slideLayouts/slideLayout25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248.xml"/><Relationship Id="rId7" Type="http://schemas.openxmlformats.org/officeDocument/2006/relationships/slideLayout" Target="../slideLayouts/slideLayout252.xml"/><Relationship Id="rId12" Type="http://schemas.openxmlformats.org/officeDocument/2006/relationships/slideLayout" Target="../slideLayouts/slideLayout25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47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246.xml"/><Relationship Id="rId6" Type="http://schemas.openxmlformats.org/officeDocument/2006/relationships/slideLayout" Target="../slideLayouts/slideLayout251.xml"/><Relationship Id="rId11" Type="http://schemas.openxmlformats.org/officeDocument/2006/relationships/slideLayout" Target="../slideLayouts/slideLayout256.xml"/><Relationship Id="rId5" Type="http://schemas.openxmlformats.org/officeDocument/2006/relationships/slideLayout" Target="../slideLayouts/slideLayout25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255.xml"/><Relationship Id="rId4" Type="http://schemas.openxmlformats.org/officeDocument/2006/relationships/slideLayout" Target="../slideLayouts/slideLayout249.xml"/><Relationship Id="rId9" Type="http://schemas.openxmlformats.org/officeDocument/2006/relationships/slideLayout" Target="../slideLayouts/slideLayout254.xml"/><Relationship Id="rId14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6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61.xml"/><Relationship Id="rId7" Type="http://schemas.openxmlformats.org/officeDocument/2006/relationships/slideLayout" Target="../slideLayouts/slideLayout265.xml"/><Relationship Id="rId12" Type="http://schemas.openxmlformats.org/officeDocument/2006/relationships/theme" Target="../theme/theme22.xml"/><Relationship Id="rId2" Type="http://schemas.openxmlformats.org/officeDocument/2006/relationships/slideLayout" Target="../slideLayouts/slideLayout26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59.xml"/><Relationship Id="rId6" Type="http://schemas.openxmlformats.org/officeDocument/2006/relationships/slideLayout" Target="../slideLayouts/slideLayout264.xml"/><Relationship Id="rId11" Type="http://schemas.openxmlformats.org/officeDocument/2006/relationships/slideLayout" Target="../slideLayouts/slideLayout269.xml"/><Relationship Id="rId5" Type="http://schemas.openxmlformats.org/officeDocument/2006/relationships/slideLayout" Target="../slideLayouts/slideLayout26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68.xml"/><Relationship Id="rId4" Type="http://schemas.openxmlformats.org/officeDocument/2006/relationships/slideLayout" Target="../slideLayouts/slideLayout262.xml"/><Relationship Id="rId9" Type="http://schemas.openxmlformats.org/officeDocument/2006/relationships/slideLayout" Target="../slideLayouts/slideLayout267.xml"/><Relationship Id="rId14" Type="http://schemas.openxmlformats.org/officeDocument/2006/relationships/image" Target="../media/image13.png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77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72.xml"/><Relationship Id="rId7" Type="http://schemas.openxmlformats.org/officeDocument/2006/relationships/slideLayout" Target="../slideLayouts/slideLayout276.xml"/><Relationship Id="rId12" Type="http://schemas.openxmlformats.org/officeDocument/2006/relationships/theme" Target="../theme/theme23.xml"/><Relationship Id="rId2" Type="http://schemas.openxmlformats.org/officeDocument/2006/relationships/slideLayout" Target="../slideLayouts/slideLayout27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70.xml"/><Relationship Id="rId6" Type="http://schemas.openxmlformats.org/officeDocument/2006/relationships/slideLayout" Target="../slideLayouts/slideLayout275.xml"/><Relationship Id="rId11" Type="http://schemas.openxmlformats.org/officeDocument/2006/relationships/slideLayout" Target="../slideLayouts/slideLayout280.xml"/><Relationship Id="rId5" Type="http://schemas.openxmlformats.org/officeDocument/2006/relationships/slideLayout" Target="../slideLayouts/slideLayout27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79.xml"/><Relationship Id="rId4" Type="http://schemas.openxmlformats.org/officeDocument/2006/relationships/slideLayout" Target="../slideLayouts/slideLayout273.xml"/><Relationship Id="rId9" Type="http://schemas.openxmlformats.org/officeDocument/2006/relationships/slideLayout" Target="../slideLayouts/slideLayout278.xml"/><Relationship Id="rId14" Type="http://schemas.openxmlformats.org/officeDocument/2006/relationships/image" Target="../media/image13.png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8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83.xml"/><Relationship Id="rId7" Type="http://schemas.openxmlformats.org/officeDocument/2006/relationships/slideLayout" Target="../slideLayouts/slideLayout287.xml"/><Relationship Id="rId12" Type="http://schemas.openxmlformats.org/officeDocument/2006/relationships/theme" Target="../theme/theme24.xml"/><Relationship Id="rId2" Type="http://schemas.openxmlformats.org/officeDocument/2006/relationships/slideLayout" Target="../slideLayouts/slideLayout28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81.xml"/><Relationship Id="rId6" Type="http://schemas.openxmlformats.org/officeDocument/2006/relationships/slideLayout" Target="../slideLayouts/slideLayout286.xml"/><Relationship Id="rId11" Type="http://schemas.openxmlformats.org/officeDocument/2006/relationships/slideLayout" Target="../slideLayouts/slideLayout291.xml"/><Relationship Id="rId5" Type="http://schemas.openxmlformats.org/officeDocument/2006/relationships/slideLayout" Target="../slideLayouts/slideLayout285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290.xml"/><Relationship Id="rId4" Type="http://schemas.openxmlformats.org/officeDocument/2006/relationships/slideLayout" Target="../slideLayouts/slideLayout284.xml"/><Relationship Id="rId9" Type="http://schemas.openxmlformats.org/officeDocument/2006/relationships/slideLayout" Target="../slideLayouts/slideLayout289.xml"/><Relationship Id="rId14" Type="http://schemas.openxmlformats.org/officeDocument/2006/relationships/image" Target="../media/image13.png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9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294.xml"/><Relationship Id="rId7" Type="http://schemas.openxmlformats.org/officeDocument/2006/relationships/slideLayout" Target="../slideLayouts/slideLayout298.xml"/><Relationship Id="rId12" Type="http://schemas.openxmlformats.org/officeDocument/2006/relationships/theme" Target="../theme/theme25.xml"/><Relationship Id="rId2" Type="http://schemas.openxmlformats.org/officeDocument/2006/relationships/slideLayout" Target="../slideLayouts/slideLayout29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292.xml"/><Relationship Id="rId6" Type="http://schemas.openxmlformats.org/officeDocument/2006/relationships/slideLayout" Target="../slideLayouts/slideLayout297.xml"/><Relationship Id="rId11" Type="http://schemas.openxmlformats.org/officeDocument/2006/relationships/slideLayout" Target="../slideLayouts/slideLayout302.xml"/><Relationship Id="rId5" Type="http://schemas.openxmlformats.org/officeDocument/2006/relationships/slideLayout" Target="../slideLayouts/slideLayout29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01.xml"/><Relationship Id="rId4" Type="http://schemas.openxmlformats.org/officeDocument/2006/relationships/slideLayout" Target="../slideLayouts/slideLayout295.xml"/><Relationship Id="rId9" Type="http://schemas.openxmlformats.org/officeDocument/2006/relationships/slideLayout" Target="../slideLayouts/slideLayout300.xml"/><Relationship Id="rId14" Type="http://schemas.openxmlformats.org/officeDocument/2006/relationships/image" Target="../media/image13.png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0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309.xml"/><Relationship Id="rId12" Type="http://schemas.openxmlformats.org/officeDocument/2006/relationships/theme" Target="../theme/theme26.xml"/><Relationship Id="rId2" Type="http://schemas.openxmlformats.org/officeDocument/2006/relationships/slideLayout" Target="../slideLayouts/slideLayout304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03.xml"/><Relationship Id="rId6" Type="http://schemas.openxmlformats.org/officeDocument/2006/relationships/slideLayout" Target="../slideLayouts/slideLayout308.xml"/><Relationship Id="rId11" Type="http://schemas.openxmlformats.org/officeDocument/2006/relationships/slideLayout" Target="../slideLayouts/slideLayout313.xml"/><Relationship Id="rId5" Type="http://schemas.openxmlformats.org/officeDocument/2006/relationships/slideLayout" Target="../slideLayouts/slideLayout307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12.xml"/><Relationship Id="rId4" Type="http://schemas.openxmlformats.org/officeDocument/2006/relationships/slideLayout" Target="../slideLayouts/slideLayout306.xml"/><Relationship Id="rId9" Type="http://schemas.openxmlformats.org/officeDocument/2006/relationships/slideLayout" Target="../slideLayouts/slideLayout311.xml"/><Relationship Id="rId14" Type="http://schemas.openxmlformats.org/officeDocument/2006/relationships/image" Target="../media/image13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1.xml"/><Relationship Id="rId13" Type="http://schemas.openxmlformats.org/officeDocument/2006/relationships/slideLayout" Target="../slideLayouts/slideLayout3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16.xml"/><Relationship Id="rId7" Type="http://schemas.openxmlformats.org/officeDocument/2006/relationships/slideLayout" Target="../slideLayouts/slideLayout320.xml"/><Relationship Id="rId12" Type="http://schemas.openxmlformats.org/officeDocument/2006/relationships/slideLayout" Target="../slideLayouts/slideLayout32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15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314.xml"/><Relationship Id="rId6" Type="http://schemas.openxmlformats.org/officeDocument/2006/relationships/slideLayout" Target="../slideLayouts/slideLayout319.xml"/><Relationship Id="rId11" Type="http://schemas.openxmlformats.org/officeDocument/2006/relationships/slideLayout" Target="../slideLayouts/slideLayout324.xml"/><Relationship Id="rId5" Type="http://schemas.openxmlformats.org/officeDocument/2006/relationships/slideLayout" Target="../slideLayouts/slideLayout318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23.xml"/><Relationship Id="rId4" Type="http://schemas.openxmlformats.org/officeDocument/2006/relationships/slideLayout" Target="../slideLayouts/slideLayout317.xml"/><Relationship Id="rId9" Type="http://schemas.openxmlformats.org/officeDocument/2006/relationships/slideLayout" Target="../slideLayouts/slideLayout322.xml"/><Relationship Id="rId14" Type="http://schemas.openxmlformats.org/officeDocument/2006/relationships/theme" Target="../theme/theme27.xml"/></Relationships>
</file>

<file path=ppt/slideMasters/_rels/slideMaster2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4.xml"/><Relationship Id="rId13" Type="http://schemas.openxmlformats.org/officeDocument/2006/relationships/theme" Target="../theme/theme28.xml"/><Relationship Id="rId3" Type="http://schemas.openxmlformats.org/officeDocument/2006/relationships/slideLayout" Target="../slideLayouts/slideLayout329.xml"/><Relationship Id="rId7" Type="http://schemas.openxmlformats.org/officeDocument/2006/relationships/slideLayout" Target="../slideLayouts/slideLayout333.xml"/><Relationship Id="rId12" Type="http://schemas.openxmlformats.org/officeDocument/2006/relationships/slideLayout" Target="../slideLayouts/slideLayout338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32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27.xml"/><Relationship Id="rId6" Type="http://schemas.openxmlformats.org/officeDocument/2006/relationships/slideLayout" Target="../slideLayouts/slideLayout332.xml"/><Relationship Id="rId11" Type="http://schemas.openxmlformats.org/officeDocument/2006/relationships/slideLayout" Target="../slideLayouts/slideLayout337.xml"/><Relationship Id="rId5" Type="http://schemas.openxmlformats.org/officeDocument/2006/relationships/slideLayout" Target="../slideLayouts/slideLayout331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336.xml"/><Relationship Id="rId4" Type="http://schemas.openxmlformats.org/officeDocument/2006/relationships/slideLayout" Target="../slideLayouts/slideLayout330.xml"/><Relationship Id="rId9" Type="http://schemas.openxmlformats.org/officeDocument/2006/relationships/slideLayout" Target="../slideLayouts/slideLayout335.xml"/><Relationship Id="rId14" Type="http://schemas.openxmlformats.org/officeDocument/2006/relationships/image" Target="../media/image12.jpeg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41.xml"/><Relationship Id="rId7" Type="http://schemas.openxmlformats.org/officeDocument/2006/relationships/slideLayout" Target="../slideLayouts/slideLayout345.xml"/><Relationship Id="rId12" Type="http://schemas.openxmlformats.org/officeDocument/2006/relationships/theme" Target="../theme/theme29.xml"/><Relationship Id="rId2" Type="http://schemas.openxmlformats.org/officeDocument/2006/relationships/slideLayout" Target="../slideLayouts/slideLayout34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5" Type="http://schemas.openxmlformats.org/officeDocument/2006/relationships/slideLayout" Target="../slideLayouts/slideLayout34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48.xml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image" Target="../media/image7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24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3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7.xml"/><Relationship Id="rId13" Type="http://schemas.openxmlformats.org/officeDocument/2006/relationships/slideLayout" Target="../slideLayouts/slideLayout362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352.xml"/><Relationship Id="rId7" Type="http://schemas.openxmlformats.org/officeDocument/2006/relationships/slideLayout" Target="../slideLayouts/slideLayout356.xml"/><Relationship Id="rId12" Type="http://schemas.openxmlformats.org/officeDocument/2006/relationships/slideLayout" Target="../slideLayouts/slideLayout361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351.xml"/><Relationship Id="rId16" Type="http://schemas.openxmlformats.org/officeDocument/2006/relationships/theme" Target="../theme/theme30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350.xml"/><Relationship Id="rId6" Type="http://schemas.openxmlformats.org/officeDocument/2006/relationships/slideLayout" Target="../slideLayouts/slideLayout355.xml"/><Relationship Id="rId11" Type="http://schemas.openxmlformats.org/officeDocument/2006/relationships/slideLayout" Target="../slideLayouts/slideLayout360.xml"/><Relationship Id="rId5" Type="http://schemas.openxmlformats.org/officeDocument/2006/relationships/slideLayout" Target="../slideLayouts/slideLayout354.xml"/><Relationship Id="rId15" Type="http://schemas.openxmlformats.org/officeDocument/2006/relationships/slideLayout" Target="../slideLayouts/slideLayout364.xml"/><Relationship Id="rId10" Type="http://schemas.openxmlformats.org/officeDocument/2006/relationships/slideLayout" Target="../slideLayouts/slideLayout359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353.xml"/><Relationship Id="rId9" Type="http://schemas.openxmlformats.org/officeDocument/2006/relationships/slideLayout" Target="../slideLayouts/slideLayout358.xml"/><Relationship Id="rId14" Type="http://schemas.openxmlformats.org/officeDocument/2006/relationships/slideLayout" Target="../slideLayouts/slideLayout363.xml"/></Relationships>
</file>

<file path=ppt/slideMasters/_rels/slideMaster3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7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67.xml"/><Relationship Id="rId7" Type="http://schemas.openxmlformats.org/officeDocument/2006/relationships/slideLayout" Target="../slideLayouts/slideLayout371.xml"/><Relationship Id="rId12" Type="http://schemas.openxmlformats.org/officeDocument/2006/relationships/theme" Target="../theme/theme31.xml"/><Relationship Id="rId2" Type="http://schemas.openxmlformats.org/officeDocument/2006/relationships/slideLayout" Target="../slideLayouts/slideLayout36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65.xml"/><Relationship Id="rId6" Type="http://schemas.openxmlformats.org/officeDocument/2006/relationships/slideLayout" Target="../slideLayouts/slideLayout370.xml"/><Relationship Id="rId11" Type="http://schemas.openxmlformats.org/officeDocument/2006/relationships/slideLayout" Target="../slideLayouts/slideLayout375.xml"/><Relationship Id="rId5" Type="http://schemas.openxmlformats.org/officeDocument/2006/relationships/slideLayout" Target="../slideLayouts/slideLayout36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74.xml"/><Relationship Id="rId4" Type="http://schemas.openxmlformats.org/officeDocument/2006/relationships/slideLayout" Target="../slideLayouts/slideLayout368.xml"/><Relationship Id="rId9" Type="http://schemas.openxmlformats.org/officeDocument/2006/relationships/slideLayout" Target="../slideLayouts/slideLayout373.xml"/><Relationship Id="rId14" Type="http://schemas.openxmlformats.org/officeDocument/2006/relationships/image" Target="../media/image7.png"/></Relationships>
</file>

<file path=ppt/slideMasters/_rels/slideMaster3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83.xml"/><Relationship Id="rId13" Type="http://schemas.openxmlformats.org/officeDocument/2006/relationships/slideLayout" Target="../slideLayouts/slideLayout388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78.xml"/><Relationship Id="rId7" Type="http://schemas.openxmlformats.org/officeDocument/2006/relationships/slideLayout" Target="../slideLayouts/slideLayout382.xml"/><Relationship Id="rId12" Type="http://schemas.openxmlformats.org/officeDocument/2006/relationships/slideLayout" Target="../slideLayouts/slideLayout38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377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376.xml"/><Relationship Id="rId6" Type="http://schemas.openxmlformats.org/officeDocument/2006/relationships/slideLayout" Target="../slideLayouts/slideLayout381.xml"/><Relationship Id="rId11" Type="http://schemas.openxmlformats.org/officeDocument/2006/relationships/slideLayout" Target="../slideLayouts/slideLayout386.xml"/><Relationship Id="rId5" Type="http://schemas.openxmlformats.org/officeDocument/2006/relationships/slideLayout" Target="../slideLayouts/slideLayout380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385.xml"/><Relationship Id="rId4" Type="http://schemas.openxmlformats.org/officeDocument/2006/relationships/slideLayout" Target="../slideLayouts/slideLayout379.xml"/><Relationship Id="rId9" Type="http://schemas.openxmlformats.org/officeDocument/2006/relationships/slideLayout" Target="../slideLayouts/slideLayout384.xml"/><Relationship Id="rId14" Type="http://schemas.openxmlformats.org/officeDocument/2006/relationships/theme" Target="../theme/theme32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96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91.xml"/><Relationship Id="rId7" Type="http://schemas.openxmlformats.org/officeDocument/2006/relationships/slideLayout" Target="../slideLayouts/slideLayout395.xml"/><Relationship Id="rId12" Type="http://schemas.openxmlformats.org/officeDocument/2006/relationships/theme" Target="../theme/theme33.xml"/><Relationship Id="rId2" Type="http://schemas.openxmlformats.org/officeDocument/2006/relationships/slideLayout" Target="../slideLayouts/slideLayout390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89.xml"/><Relationship Id="rId6" Type="http://schemas.openxmlformats.org/officeDocument/2006/relationships/slideLayout" Target="../slideLayouts/slideLayout394.xml"/><Relationship Id="rId11" Type="http://schemas.openxmlformats.org/officeDocument/2006/relationships/slideLayout" Target="../slideLayouts/slideLayout399.xml"/><Relationship Id="rId5" Type="http://schemas.openxmlformats.org/officeDocument/2006/relationships/slideLayout" Target="../slideLayouts/slideLayout393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398.xml"/><Relationship Id="rId4" Type="http://schemas.openxmlformats.org/officeDocument/2006/relationships/slideLayout" Target="../slideLayouts/slideLayout392.xml"/><Relationship Id="rId9" Type="http://schemas.openxmlformats.org/officeDocument/2006/relationships/slideLayout" Target="../slideLayouts/slideLayout397.xml"/><Relationship Id="rId14" Type="http://schemas.openxmlformats.org/officeDocument/2006/relationships/image" Target="../media/image7.png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7.xml"/><Relationship Id="rId13" Type="http://schemas.openxmlformats.org/officeDocument/2006/relationships/theme" Target="../theme/theme34.xml"/><Relationship Id="rId3" Type="http://schemas.openxmlformats.org/officeDocument/2006/relationships/slideLayout" Target="../slideLayouts/slideLayout402.xml"/><Relationship Id="rId7" Type="http://schemas.openxmlformats.org/officeDocument/2006/relationships/slideLayout" Target="../slideLayouts/slideLayout406.xml"/><Relationship Id="rId12" Type="http://schemas.openxmlformats.org/officeDocument/2006/relationships/slideLayout" Target="../slideLayouts/slideLayout41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0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00.xml"/><Relationship Id="rId6" Type="http://schemas.openxmlformats.org/officeDocument/2006/relationships/slideLayout" Target="../slideLayouts/slideLayout405.xml"/><Relationship Id="rId11" Type="http://schemas.openxmlformats.org/officeDocument/2006/relationships/slideLayout" Target="../slideLayouts/slideLayout410.xml"/><Relationship Id="rId5" Type="http://schemas.openxmlformats.org/officeDocument/2006/relationships/slideLayout" Target="../slideLayouts/slideLayout404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409.xml"/><Relationship Id="rId4" Type="http://schemas.openxmlformats.org/officeDocument/2006/relationships/slideLayout" Target="../slideLayouts/slideLayout403.xml"/><Relationship Id="rId9" Type="http://schemas.openxmlformats.org/officeDocument/2006/relationships/slideLayout" Target="../slideLayouts/slideLayout408.xml"/><Relationship Id="rId14" Type="http://schemas.openxmlformats.org/officeDocument/2006/relationships/image" Target="../media/image1.jpeg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14.xml"/><Relationship Id="rId7" Type="http://schemas.openxmlformats.org/officeDocument/2006/relationships/slideLayout" Target="../slideLayouts/slideLayout418.xml"/><Relationship Id="rId12" Type="http://schemas.openxmlformats.org/officeDocument/2006/relationships/theme" Target="../theme/theme35.xml"/><Relationship Id="rId2" Type="http://schemas.openxmlformats.org/officeDocument/2006/relationships/slideLayout" Target="../slideLayouts/slideLayout41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12.xml"/><Relationship Id="rId6" Type="http://schemas.openxmlformats.org/officeDocument/2006/relationships/slideLayout" Target="../slideLayouts/slideLayout417.xml"/><Relationship Id="rId11" Type="http://schemas.openxmlformats.org/officeDocument/2006/relationships/slideLayout" Target="../slideLayouts/slideLayout422.xml"/><Relationship Id="rId5" Type="http://schemas.openxmlformats.org/officeDocument/2006/relationships/slideLayout" Target="../slideLayouts/slideLayout41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21.xml"/><Relationship Id="rId4" Type="http://schemas.openxmlformats.org/officeDocument/2006/relationships/slideLayout" Target="../slideLayouts/slideLayout415.xml"/><Relationship Id="rId9" Type="http://schemas.openxmlformats.org/officeDocument/2006/relationships/slideLayout" Target="../slideLayouts/slideLayout420.xml"/><Relationship Id="rId14" Type="http://schemas.openxmlformats.org/officeDocument/2006/relationships/image" Target="../media/image7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0.xml"/><Relationship Id="rId13" Type="http://schemas.openxmlformats.org/officeDocument/2006/relationships/theme" Target="../theme/theme36.xml"/><Relationship Id="rId3" Type="http://schemas.openxmlformats.org/officeDocument/2006/relationships/slideLayout" Target="../slideLayouts/slideLayout425.xml"/><Relationship Id="rId7" Type="http://schemas.openxmlformats.org/officeDocument/2006/relationships/slideLayout" Target="../slideLayouts/slideLayout429.xml"/><Relationship Id="rId12" Type="http://schemas.openxmlformats.org/officeDocument/2006/relationships/slideLayout" Target="../slideLayouts/slideLayout43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2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23.xml"/><Relationship Id="rId6" Type="http://schemas.openxmlformats.org/officeDocument/2006/relationships/slideLayout" Target="../slideLayouts/slideLayout428.xml"/><Relationship Id="rId11" Type="http://schemas.openxmlformats.org/officeDocument/2006/relationships/slideLayout" Target="../slideLayouts/slideLayout433.xml"/><Relationship Id="rId5" Type="http://schemas.openxmlformats.org/officeDocument/2006/relationships/slideLayout" Target="../slideLayouts/slideLayout427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432.xml"/><Relationship Id="rId4" Type="http://schemas.openxmlformats.org/officeDocument/2006/relationships/slideLayout" Target="../slideLayouts/slideLayout426.xml"/><Relationship Id="rId9" Type="http://schemas.openxmlformats.org/officeDocument/2006/relationships/slideLayout" Target="../slideLayouts/slideLayout431.xml"/><Relationship Id="rId14" Type="http://schemas.openxmlformats.org/officeDocument/2006/relationships/image" Target="../media/image12.jpeg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2.xml"/><Relationship Id="rId13" Type="http://schemas.openxmlformats.org/officeDocument/2006/relationships/slideLayout" Target="../slideLayouts/slideLayout447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437.xml"/><Relationship Id="rId7" Type="http://schemas.openxmlformats.org/officeDocument/2006/relationships/slideLayout" Target="../slideLayouts/slideLayout441.xml"/><Relationship Id="rId12" Type="http://schemas.openxmlformats.org/officeDocument/2006/relationships/slideLayout" Target="../slideLayouts/slideLayout446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436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35.xml"/><Relationship Id="rId6" Type="http://schemas.openxmlformats.org/officeDocument/2006/relationships/slideLayout" Target="../slideLayouts/slideLayout440.xml"/><Relationship Id="rId11" Type="http://schemas.openxmlformats.org/officeDocument/2006/relationships/slideLayout" Target="../slideLayouts/slideLayout445.xml"/><Relationship Id="rId5" Type="http://schemas.openxmlformats.org/officeDocument/2006/relationships/slideLayout" Target="../slideLayouts/slideLayout439.xml"/><Relationship Id="rId15" Type="http://schemas.openxmlformats.org/officeDocument/2006/relationships/theme" Target="../theme/theme37.xml"/><Relationship Id="rId10" Type="http://schemas.openxmlformats.org/officeDocument/2006/relationships/slideLayout" Target="../slideLayouts/slideLayout444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438.xml"/><Relationship Id="rId9" Type="http://schemas.openxmlformats.org/officeDocument/2006/relationships/slideLayout" Target="../slideLayouts/slideLayout443.xml"/><Relationship Id="rId14" Type="http://schemas.openxmlformats.org/officeDocument/2006/relationships/slideLayout" Target="../slideLayouts/slideLayout448.xml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6.xml"/><Relationship Id="rId13" Type="http://schemas.openxmlformats.org/officeDocument/2006/relationships/slideLayout" Target="../slideLayouts/slideLayout46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451.xml"/><Relationship Id="rId7" Type="http://schemas.openxmlformats.org/officeDocument/2006/relationships/slideLayout" Target="../slideLayouts/slideLayout455.xml"/><Relationship Id="rId12" Type="http://schemas.openxmlformats.org/officeDocument/2006/relationships/slideLayout" Target="../slideLayouts/slideLayout46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450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449.xml"/><Relationship Id="rId6" Type="http://schemas.openxmlformats.org/officeDocument/2006/relationships/slideLayout" Target="../slideLayouts/slideLayout454.xml"/><Relationship Id="rId11" Type="http://schemas.openxmlformats.org/officeDocument/2006/relationships/slideLayout" Target="../slideLayouts/slideLayout459.xml"/><Relationship Id="rId5" Type="http://schemas.openxmlformats.org/officeDocument/2006/relationships/slideLayout" Target="../slideLayouts/slideLayout453.xml"/><Relationship Id="rId15" Type="http://schemas.openxmlformats.org/officeDocument/2006/relationships/image" Target="../media/image1.jpeg"/><Relationship Id="rId10" Type="http://schemas.openxmlformats.org/officeDocument/2006/relationships/slideLayout" Target="../slideLayouts/slideLayout458.xml"/><Relationship Id="rId4" Type="http://schemas.openxmlformats.org/officeDocument/2006/relationships/slideLayout" Target="../slideLayouts/slideLayout452.xml"/><Relationship Id="rId9" Type="http://schemas.openxmlformats.org/officeDocument/2006/relationships/slideLayout" Target="../slideLayouts/slideLayout457.xml"/><Relationship Id="rId14" Type="http://schemas.openxmlformats.org/officeDocument/2006/relationships/theme" Target="../theme/theme38.xml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9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464.xml"/><Relationship Id="rId7" Type="http://schemas.openxmlformats.org/officeDocument/2006/relationships/slideLayout" Target="../slideLayouts/slideLayout468.xml"/><Relationship Id="rId12" Type="http://schemas.openxmlformats.org/officeDocument/2006/relationships/theme" Target="../theme/theme39.xml"/><Relationship Id="rId2" Type="http://schemas.openxmlformats.org/officeDocument/2006/relationships/slideLayout" Target="../slideLayouts/slideLayout463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462.xml"/><Relationship Id="rId6" Type="http://schemas.openxmlformats.org/officeDocument/2006/relationships/slideLayout" Target="../slideLayouts/slideLayout467.xml"/><Relationship Id="rId11" Type="http://schemas.openxmlformats.org/officeDocument/2006/relationships/slideLayout" Target="../slideLayouts/slideLayout472.xml"/><Relationship Id="rId5" Type="http://schemas.openxmlformats.org/officeDocument/2006/relationships/slideLayout" Target="../slideLayouts/slideLayout466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71.xml"/><Relationship Id="rId4" Type="http://schemas.openxmlformats.org/officeDocument/2006/relationships/slideLayout" Target="../slideLayouts/slideLayout465.xml"/><Relationship Id="rId9" Type="http://schemas.openxmlformats.org/officeDocument/2006/relationships/slideLayout" Target="../slideLayouts/slideLayout470.xml"/><Relationship Id="rId14" Type="http://schemas.openxmlformats.org/officeDocument/2006/relationships/image" Target="../media/image7.pn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9.png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80.xml"/><Relationship Id="rId13" Type="http://schemas.openxmlformats.org/officeDocument/2006/relationships/theme" Target="../theme/theme40.xml"/><Relationship Id="rId3" Type="http://schemas.openxmlformats.org/officeDocument/2006/relationships/slideLayout" Target="../slideLayouts/slideLayout475.xml"/><Relationship Id="rId7" Type="http://schemas.openxmlformats.org/officeDocument/2006/relationships/slideLayout" Target="../slideLayouts/slideLayout479.xml"/><Relationship Id="rId12" Type="http://schemas.openxmlformats.org/officeDocument/2006/relationships/slideLayout" Target="../slideLayouts/slideLayout484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74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73.xml"/><Relationship Id="rId6" Type="http://schemas.openxmlformats.org/officeDocument/2006/relationships/slideLayout" Target="../slideLayouts/slideLayout478.xml"/><Relationship Id="rId11" Type="http://schemas.openxmlformats.org/officeDocument/2006/relationships/slideLayout" Target="../slideLayouts/slideLayout483.xml"/><Relationship Id="rId5" Type="http://schemas.openxmlformats.org/officeDocument/2006/relationships/slideLayout" Target="../slideLayouts/slideLayout477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482.xml"/><Relationship Id="rId4" Type="http://schemas.openxmlformats.org/officeDocument/2006/relationships/slideLayout" Target="../slideLayouts/slideLayout476.xml"/><Relationship Id="rId9" Type="http://schemas.openxmlformats.org/officeDocument/2006/relationships/slideLayout" Target="../slideLayouts/slideLayout481.xml"/><Relationship Id="rId14" Type="http://schemas.openxmlformats.org/officeDocument/2006/relationships/image" Target="../media/image12.jpeg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2.xml"/><Relationship Id="rId13" Type="http://schemas.openxmlformats.org/officeDocument/2006/relationships/theme" Target="../theme/theme41.xml"/><Relationship Id="rId3" Type="http://schemas.openxmlformats.org/officeDocument/2006/relationships/slideLayout" Target="../slideLayouts/slideLayout487.xml"/><Relationship Id="rId7" Type="http://schemas.openxmlformats.org/officeDocument/2006/relationships/slideLayout" Target="../slideLayouts/slideLayout491.xml"/><Relationship Id="rId12" Type="http://schemas.openxmlformats.org/officeDocument/2006/relationships/slideLayout" Target="../slideLayouts/slideLayout496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86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85.xml"/><Relationship Id="rId6" Type="http://schemas.openxmlformats.org/officeDocument/2006/relationships/slideLayout" Target="../slideLayouts/slideLayout490.xml"/><Relationship Id="rId11" Type="http://schemas.openxmlformats.org/officeDocument/2006/relationships/slideLayout" Target="../slideLayouts/slideLayout495.xml"/><Relationship Id="rId5" Type="http://schemas.openxmlformats.org/officeDocument/2006/relationships/slideLayout" Target="../slideLayouts/slideLayout489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494.xml"/><Relationship Id="rId4" Type="http://schemas.openxmlformats.org/officeDocument/2006/relationships/slideLayout" Target="../slideLayouts/slideLayout488.xml"/><Relationship Id="rId9" Type="http://schemas.openxmlformats.org/officeDocument/2006/relationships/slideLayout" Target="../slideLayouts/slideLayout493.xml"/><Relationship Id="rId14" Type="http://schemas.openxmlformats.org/officeDocument/2006/relationships/image" Target="../media/image12.jpeg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04.xml"/><Relationship Id="rId13" Type="http://schemas.openxmlformats.org/officeDocument/2006/relationships/theme" Target="../theme/theme42.xml"/><Relationship Id="rId3" Type="http://schemas.openxmlformats.org/officeDocument/2006/relationships/slideLayout" Target="../slideLayouts/slideLayout499.xml"/><Relationship Id="rId7" Type="http://schemas.openxmlformats.org/officeDocument/2006/relationships/slideLayout" Target="../slideLayouts/slideLayout503.xml"/><Relationship Id="rId12" Type="http://schemas.openxmlformats.org/officeDocument/2006/relationships/slideLayout" Target="../slideLayouts/slideLayout508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49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97.xml"/><Relationship Id="rId6" Type="http://schemas.openxmlformats.org/officeDocument/2006/relationships/slideLayout" Target="../slideLayouts/slideLayout502.xml"/><Relationship Id="rId11" Type="http://schemas.openxmlformats.org/officeDocument/2006/relationships/slideLayout" Target="../slideLayouts/slideLayout507.xml"/><Relationship Id="rId5" Type="http://schemas.openxmlformats.org/officeDocument/2006/relationships/slideLayout" Target="../slideLayouts/slideLayout501.xml"/><Relationship Id="rId15" Type="http://schemas.openxmlformats.org/officeDocument/2006/relationships/image" Target="../media/image7.png"/><Relationship Id="rId10" Type="http://schemas.openxmlformats.org/officeDocument/2006/relationships/slideLayout" Target="../slideLayouts/slideLayout506.xml"/><Relationship Id="rId4" Type="http://schemas.openxmlformats.org/officeDocument/2006/relationships/slideLayout" Target="../slideLayouts/slideLayout500.xml"/><Relationship Id="rId9" Type="http://schemas.openxmlformats.org/officeDocument/2006/relationships/slideLayout" Target="../slideLayouts/slideLayout505.xml"/><Relationship Id="rId14" Type="http://schemas.openxmlformats.org/officeDocument/2006/relationships/image" Target="../media/image1.jpeg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6.xml"/><Relationship Id="rId13" Type="http://schemas.openxmlformats.org/officeDocument/2006/relationships/theme" Target="../theme/theme43.xml"/><Relationship Id="rId3" Type="http://schemas.openxmlformats.org/officeDocument/2006/relationships/slideLayout" Target="../slideLayouts/slideLayout511.xml"/><Relationship Id="rId7" Type="http://schemas.openxmlformats.org/officeDocument/2006/relationships/slideLayout" Target="../slideLayouts/slideLayout515.xml"/><Relationship Id="rId12" Type="http://schemas.openxmlformats.org/officeDocument/2006/relationships/slideLayout" Target="../slideLayouts/slideLayout520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51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09.xml"/><Relationship Id="rId6" Type="http://schemas.openxmlformats.org/officeDocument/2006/relationships/slideLayout" Target="../slideLayouts/slideLayout514.xml"/><Relationship Id="rId11" Type="http://schemas.openxmlformats.org/officeDocument/2006/relationships/slideLayout" Target="../slideLayouts/slideLayout519.xml"/><Relationship Id="rId5" Type="http://schemas.openxmlformats.org/officeDocument/2006/relationships/slideLayout" Target="../slideLayouts/slideLayout513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518.xml"/><Relationship Id="rId4" Type="http://schemas.openxmlformats.org/officeDocument/2006/relationships/slideLayout" Target="../slideLayouts/slideLayout512.xml"/><Relationship Id="rId9" Type="http://schemas.openxmlformats.org/officeDocument/2006/relationships/slideLayout" Target="../slideLayouts/slideLayout517.xml"/><Relationship Id="rId14" Type="http://schemas.openxmlformats.org/officeDocument/2006/relationships/image" Target="../media/image12.jpeg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8.xml"/><Relationship Id="rId13" Type="http://schemas.openxmlformats.org/officeDocument/2006/relationships/slideLayout" Target="../slideLayouts/slideLayout53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23.xml"/><Relationship Id="rId7" Type="http://schemas.openxmlformats.org/officeDocument/2006/relationships/slideLayout" Target="../slideLayouts/slideLayout527.xml"/><Relationship Id="rId12" Type="http://schemas.openxmlformats.org/officeDocument/2006/relationships/slideLayout" Target="../slideLayouts/slideLayout532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52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521.xml"/><Relationship Id="rId6" Type="http://schemas.openxmlformats.org/officeDocument/2006/relationships/slideLayout" Target="../slideLayouts/slideLayout526.xml"/><Relationship Id="rId11" Type="http://schemas.openxmlformats.org/officeDocument/2006/relationships/slideLayout" Target="../slideLayouts/slideLayout531.xml"/><Relationship Id="rId5" Type="http://schemas.openxmlformats.org/officeDocument/2006/relationships/slideLayout" Target="../slideLayouts/slideLayout525.xml"/><Relationship Id="rId15" Type="http://schemas.openxmlformats.org/officeDocument/2006/relationships/theme" Target="../theme/theme44.xml"/><Relationship Id="rId10" Type="http://schemas.openxmlformats.org/officeDocument/2006/relationships/slideLayout" Target="../slideLayouts/slideLayout53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524.xml"/><Relationship Id="rId9" Type="http://schemas.openxmlformats.org/officeDocument/2006/relationships/slideLayout" Target="../slideLayouts/slideLayout529.xml"/><Relationship Id="rId14" Type="http://schemas.openxmlformats.org/officeDocument/2006/relationships/slideLayout" Target="../slideLayouts/slideLayout534.xml"/></Relationships>
</file>

<file path=ppt/slideMasters/_rels/slideMaster4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42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37.xml"/><Relationship Id="rId7" Type="http://schemas.openxmlformats.org/officeDocument/2006/relationships/slideLayout" Target="../slideLayouts/slideLayout541.xml"/><Relationship Id="rId12" Type="http://schemas.openxmlformats.org/officeDocument/2006/relationships/theme" Target="../theme/theme45.xml"/><Relationship Id="rId2" Type="http://schemas.openxmlformats.org/officeDocument/2006/relationships/slideLayout" Target="../slideLayouts/slideLayout536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35.xml"/><Relationship Id="rId6" Type="http://schemas.openxmlformats.org/officeDocument/2006/relationships/slideLayout" Target="../slideLayouts/slideLayout540.xml"/><Relationship Id="rId11" Type="http://schemas.openxmlformats.org/officeDocument/2006/relationships/slideLayout" Target="../slideLayouts/slideLayout545.xml"/><Relationship Id="rId5" Type="http://schemas.openxmlformats.org/officeDocument/2006/relationships/slideLayout" Target="../slideLayouts/slideLayout539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44.xml"/><Relationship Id="rId4" Type="http://schemas.openxmlformats.org/officeDocument/2006/relationships/slideLayout" Target="../slideLayouts/slideLayout538.xml"/><Relationship Id="rId9" Type="http://schemas.openxmlformats.org/officeDocument/2006/relationships/slideLayout" Target="../slideLayouts/slideLayout543.xml"/><Relationship Id="rId14" Type="http://schemas.openxmlformats.org/officeDocument/2006/relationships/image" Target="../media/image7.png"/></Relationships>
</file>

<file path=ppt/slideMasters/_rels/slideMaster4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3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48.xml"/><Relationship Id="rId7" Type="http://schemas.openxmlformats.org/officeDocument/2006/relationships/slideLayout" Target="../slideLayouts/slideLayout552.xml"/><Relationship Id="rId12" Type="http://schemas.openxmlformats.org/officeDocument/2006/relationships/theme" Target="../theme/theme46.xml"/><Relationship Id="rId2" Type="http://schemas.openxmlformats.org/officeDocument/2006/relationships/slideLayout" Target="../slideLayouts/slideLayout547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46.xml"/><Relationship Id="rId6" Type="http://schemas.openxmlformats.org/officeDocument/2006/relationships/slideLayout" Target="../slideLayouts/slideLayout551.xml"/><Relationship Id="rId11" Type="http://schemas.openxmlformats.org/officeDocument/2006/relationships/slideLayout" Target="../slideLayouts/slideLayout556.xml"/><Relationship Id="rId5" Type="http://schemas.openxmlformats.org/officeDocument/2006/relationships/slideLayout" Target="../slideLayouts/slideLayout550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55.xml"/><Relationship Id="rId4" Type="http://schemas.openxmlformats.org/officeDocument/2006/relationships/slideLayout" Target="../slideLayouts/slideLayout549.xml"/><Relationship Id="rId9" Type="http://schemas.openxmlformats.org/officeDocument/2006/relationships/slideLayout" Target="../slideLayouts/slideLayout554.xml"/><Relationship Id="rId14" Type="http://schemas.openxmlformats.org/officeDocument/2006/relationships/image" Target="../media/image7.png"/></Relationships>
</file>

<file path=ppt/slideMasters/_rels/slideMaster4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64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559.xml"/><Relationship Id="rId7" Type="http://schemas.openxmlformats.org/officeDocument/2006/relationships/slideLayout" Target="../slideLayouts/slideLayout563.xml"/><Relationship Id="rId12" Type="http://schemas.openxmlformats.org/officeDocument/2006/relationships/theme" Target="../theme/theme47.xml"/><Relationship Id="rId2" Type="http://schemas.openxmlformats.org/officeDocument/2006/relationships/slideLayout" Target="../slideLayouts/slideLayout558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557.xml"/><Relationship Id="rId6" Type="http://schemas.openxmlformats.org/officeDocument/2006/relationships/slideLayout" Target="../slideLayouts/slideLayout562.xml"/><Relationship Id="rId11" Type="http://schemas.openxmlformats.org/officeDocument/2006/relationships/slideLayout" Target="../slideLayouts/slideLayout567.xml"/><Relationship Id="rId5" Type="http://schemas.openxmlformats.org/officeDocument/2006/relationships/slideLayout" Target="../slideLayouts/slideLayout561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566.xml"/><Relationship Id="rId4" Type="http://schemas.openxmlformats.org/officeDocument/2006/relationships/slideLayout" Target="../slideLayouts/slideLayout560.xml"/><Relationship Id="rId9" Type="http://schemas.openxmlformats.org/officeDocument/2006/relationships/slideLayout" Target="../slideLayouts/slideLayout565.xml"/><Relationship Id="rId14" Type="http://schemas.openxmlformats.org/officeDocument/2006/relationships/image" Target="../media/image7.png"/></Relationships>
</file>

<file path=ppt/slideMasters/_rels/slideMaster4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5.xml"/><Relationship Id="rId13" Type="http://schemas.openxmlformats.org/officeDocument/2006/relationships/slideLayout" Target="../slideLayouts/slideLayout58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70.xml"/><Relationship Id="rId7" Type="http://schemas.openxmlformats.org/officeDocument/2006/relationships/slideLayout" Target="../slideLayouts/slideLayout574.xml"/><Relationship Id="rId12" Type="http://schemas.openxmlformats.org/officeDocument/2006/relationships/slideLayout" Target="../slideLayouts/slideLayout57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69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568.xml"/><Relationship Id="rId6" Type="http://schemas.openxmlformats.org/officeDocument/2006/relationships/slideLayout" Target="../slideLayouts/slideLayout573.xml"/><Relationship Id="rId11" Type="http://schemas.openxmlformats.org/officeDocument/2006/relationships/slideLayout" Target="../slideLayouts/slideLayout578.xml"/><Relationship Id="rId5" Type="http://schemas.openxmlformats.org/officeDocument/2006/relationships/slideLayout" Target="../slideLayouts/slideLayout572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577.xml"/><Relationship Id="rId4" Type="http://schemas.openxmlformats.org/officeDocument/2006/relationships/slideLayout" Target="../slideLayouts/slideLayout571.xml"/><Relationship Id="rId9" Type="http://schemas.openxmlformats.org/officeDocument/2006/relationships/slideLayout" Target="../slideLayouts/slideLayout576.xml"/><Relationship Id="rId14" Type="http://schemas.openxmlformats.org/officeDocument/2006/relationships/theme" Target="../theme/theme48.xml"/></Relationships>
</file>

<file path=ppt/slideMasters/_rels/slideMaster4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8.xml"/><Relationship Id="rId13" Type="http://schemas.openxmlformats.org/officeDocument/2006/relationships/slideLayout" Target="../slideLayouts/slideLayout593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83.xml"/><Relationship Id="rId7" Type="http://schemas.openxmlformats.org/officeDocument/2006/relationships/slideLayout" Target="../slideLayouts/slideLayout587.xml"/><Relationship Id="rId12" Type="http://schemas.openxmlformats.org/officeDocument/2006/relationships/slideLayout" Target="../slideLayouts/slideLayout592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58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581.xml"/><Relationship Id="rId6" Type="http://schemas.openxmlformats.org/officeDocument/2006/relationships/slideLayout" Target="../slideLayouts/slideLayout586.xml"/><Relationship Id="rId11" Type="http://schemas.openxmlformats.org/officeDocument/2006/relationships/slideLayout" Target="../slideLayouts/slideLayout591.xml"/><Relationship Id="rId5" Type="http://schemas.openxmlformats.org/officeDocument/2006/relationships/slideLayout" Target="../slideLayouts/slideLayout585.xml"/><Relationship Id="rId15" Type="http://schemas.openxmlformats.org/officeDocument/2006/relationships/theme" Target="../theme/theme49.xml"/><Relationship Id="rId10" Type="http://schemas.openxmlformats.org/officeDocument/2006/relationships/slideLayout" Target="../slideLayouts/slideLayout590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584.xml"/><Relationship Id="rId9" Type="http://schemas.openxmlformats.org/officeDocument/2006/relationships/slideLayout" Target="../slideLayouts/slideLayout589.xml"/><Relationship Id="rId14" Type="http://schemas.openxmlformats.org/officeDocument/2006/relationships/slideLayout" Target="../slideLayouts/slideLayout59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theme" Target="../theme/theme5.xml"/><Relationship Id="rId10" Type="http://schemas.openxmlformats.org/officeDocument/2006/relationships/slideLayout" Target="../slideLayouts/slideLayout57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slideLayout" Target="../slideLayouts/slideLayout61.xml"/></Relationships>
</file>

<file path=ppt/slideMasters/_rels/slideMaster5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02.xml"/><Relationship Id="rId13" Type="http://schemas.openxmlformats.org/officeDocument/2006/relationships/slideLayout" Target="../slideLayouts/slideLayout607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597.xml"/><Relationship Id="rId7" Type="http://schemas.openxmlformats.org/officeDocument/2006/relationships/slideLayout" Target="../slideLayouts/slideLayout601.xml"/><Relationship Id="rId12" Type="http://schemas.openxmlformats.org/officeDocument/2006/relationships/slideLayout" Target="../slideLayouts/slideLayout606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596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595.xml"/><Relationship Id="rId6" Type="http://schemas.openxmlformats.org/officeDocument/2006/relationships/slideLayout" Target="../slideLayouts/slideLayout600.xml"/><Relationship Id="rId11" Type="http://schemas.openxmlformats.org/officeDocument/2006/relationships/slideLayout" Target="../slideLayouts/slideLayout605.xml"/><Relationship Id="rId5" Type="http://schemas.openxmlformats.org/officeDocument/2006/relationships/slideLayout" Target="../slideLayouts/slideLayout599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04.xml"/><Relationship Id="rId4" Type="http://schemas.openxmlformats.org/officeDocument/2006/relationships/slideLayout" Target="../slideLayouts/slideLayout598.xml"/><Relationship Id="rId9" Type="http://schemas.openxmlformats.org/officeDocument/2006/relationships/slideLayout" Target="../slideLayouts/slideLayout603.xml"/><Relationship Id="rId14" Type="http://schemas.openxmlformats.org/officeDocument/2006/relationships/theme" Target="../theme/theme50.xml"/></Relationships>
</file>

<file path=ppt/slideMasters/_rels/slideMaster5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15.xml"/><Relationship Id="rId13" Type="http://schemas.openxmlformats.org/officeDocument/2006/relationships/slideLayout" Target="../slideLayouts/slideLayout620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10.xml"/><Relationship Id="rId7" Type="http://schemas.openxmlformats.org/officeDocument/2006/relationships/slideLayout" Target="../slideLayouts/slideLayout614.xml"/><Relationship Id="rId12" Type="http://schemas.openxmlformats.org/officeDocument/2006/relationships/slideLayout" Target="../slideLayouts/slideLayout619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09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08.xml"/><Relationship Id="rId6" Type="http://schemas.openxmlformats.org/officeDocument/2006/relationships/slideLayout" Target="../slideLayouts/slideLayout613.xml"/><Relationship Id="rId11" Type="http://schemas.openxmlformats.org/officeDocument/2006/relationships/slideLayout" Target="../slideLayouts/slideLayout618.xml"/><Relationship Id="rId5" Type="http://schemas.openxmlformats.org/officeDocument/2006/relationships/slideLayout" Target="../slideLayouts/slideLayout612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17.xml"/><Relationship Id="rId4" Type="http://schemas.openxmlformats.org/officeDocument/2006/relationships/slideLayout" Target="../slideLayouts/slideLayout611.xml"/><Relationship Id="rId9" Type="http://schemas.openxmlformats.org/officeDocument/2006/relationships/slideLayout" Target="../slideLayouts/slideLayout616.xml"/><Relationship Id="rId14" Type="http://schemas.openxmlformats.org/officeDocument/2006/relationships/theme" Target="../theme/theme51.xml"/></Relationships>
</file>

<file path=ppt/slideMasters/_rels/slideMaster5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8.xml"/><Relationship Id="rId13" Type="http://schemas.openxmlformats.org/officeDocument/2006/relationships/slideLayout" Target="../slideLayouts/slideLayout63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23.xml"/><Relationship Id="rId7" Type="http://schemas.openxmlformats.org/officeDocument/2006/relationships/slideLayout" Target="../slideLayouts/slideLayout627.xml"/><Relationship Id="rId12" Type="http://schemas.openxmlformats.org/officeDocument/2006/relationships/slideLayout" Target="../slideLayouts/slideLayout63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22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21.xml"/><Relationship Id="rId6" Type="http://schemas.openxmlformats.org/officeDocument/2006/relationships/slideLayout" Target="../slideLayouts/slideLayout626.xml"/><Relationship Id="rId11" Type="http://schemas.openxmlformats.org/officeDocument/2006/relationships/slideLayout" Target="../slideLayouts/slideLayout631.xml"/><Relationship Id="rId5" Type="http://schemas.openxmlformats.org/officeDocument/2006/relationships/slideLayout" Target="../slideLayouts/slideLayout625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30.xml"/><Relationship Id="rId4" Type="http://schemas.openxmlformats.org/officeDocument/2006/relationships/slideLayout" Target="../slideLayouts/slideLayout624.xml"/><Relationship Id="rId9" Type="http://schemas.openxmlformats.org/officeDocument/2006/relationships/slideLayout" Target="../slideLayouts/slideLayout629.xml"/><Relationship Id="rId14" Type="http://schemas.openxmlformats.org/officeDocument/2006/relationships/theme" Target="../theme/theme52.xml"/></Relationships>
</file>

<file path=ppt/slideMasters/_rels/slideMaster5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1.xml"/><Relationship Id="rId13" Type="http://schemas.openxmlformats.org/officeDocument/2006/relationships/slideLayout" Target="../slideLayouts/slideLayout64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36.xml"/><Relationship Id="rId7" Type="http://schemas.openxmlformats.org/officeDocument/2006/relationships/slideLayout" Target="../slideLayouts/slideLayout640.xml"/><Relationship Id="rId12" Type="http://schemas.openxmlformats.org/officeDocument/2006/relationships/slideLayout" Target="../slideLayouts/slideLayout64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35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34.xml"/><Relationship Id="rId6" Type="http://schemas.openxmlformats.org/officeDocument/2006/relationships/slideLayout" Target="../slideLayouts/slideLayout639.xml"/><Relationship Id="rId11" Type="http://schemas.openxmlformats.org/officeDocument/2006/relationships/slideLayout" Target="../slideLayouts/slideLayout644.xml"/><Relationship Id="rId5" Type="http://schemas.openxmlformats.org/officeDocument/2006/relationships/slideLayout" Target="../slideLayouts/slideLayout638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43.xml"/><Relationship Id="rId4" Type="http://schemas.openxmlformats.org/officeDocument/2006/relationships/slideLayout" Target="../slideLayouts/slideLayout637.xml"/><Relationship Id="rId9" Type="http://schemas.openxmlformats.org/officeDocument/2006/relationships/slideLayout" Target="../slideLayouts/slideLayout642.xml"/><Relationship Id="rId14" Type="http://schemas.openxmlformats.org/officeDocument/2006/relationships/theme" Target="../theme/theme53.xml"/></Relationships>
</file>

<file path=ppt/slideMasters/_rels/slideMaster5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4.xml"/><Relationship Id="rId13" Type="http://schemas.openxmlformats.org/officeDocument/2006/relationships/slideLayout" Target="../slideLayouts/slideLayout65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49.xml"/><Relationship Id="rId7" Type="http://schemas.openxmlformats.org/officeDocument/2006/relationships/slideLayout" Target="../slideLayouts/slideLayout653.xml"/><Relationship Id="rId12" Type="http://schemas.openxmlformats.org/officeDocument/2006/relationships/slideLayout" Target="../slideLayouts/slideLayout65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48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47.xml"/><Relationship Id="rId6" Type="http://schemas.openxmlformats.org/officeDocument/2006/relationships/slideLayout" Target="../slideLayouts/slideLayout652.xml"/><Relationship Id="rId11" Type="http://schemas.openxmlformats.org/officeDocument/2006/relationships/slideLayout" Target="../slideLayouts/slideLayout657.xml"/><Relationship Id="rId5" Type="http://schemas.openxmlformats.org/officeDocument/2006/relationships/slideLayout" Target="../slideLayouts/slideLayout651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56.xml"/><Relationship Id="rId4" Type="http://schemas.openxmlformats.org/officeDocument/2006/relationships/slideLayout" Target="../slideLayouts/slideLayout650.xml"/><Relationship Id="rId9" Type="http://schemas.openxmlformats.org/officeDocument/2006/relationships/slideLayout" Target="../slideLayouts/slideLayout655.xml"/><Relationship Id="rId14" Type="http://schemas.openxmlformats.org/officeDocument/2006/relationships/theme" Target="../theme/theme54.xml"/></Relationships>
</file>

<file path=ppt/slideMasters/_rels/slideMaster5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7.xml"/><Relationship Id="rId13" Type="http://schemas.openxmlformats.org/officeDocument/2006/relationships/slideLayout" Target="../slideLayouts/slideLayout672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62.xml"/><Relationship Id="rId7" Type="http://schemas.openxmlformats.org/officeDocument/2006/relationships/slideLayout" Target="../slideLayouts/slideLayout666.xml"/><Relationship Id="rId12" Type="http://schemas.openxmlformats.org/officeDocument/2006/relationships/slideLayout" Target="../slideLayouts/slideLayout671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661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660.xml"/><Relationship Id="rId6" Type="http://schemas.openxmlformats.org/officeDocument/2006/relationships/slideLayout" Target="../slideLayouts/slideLayout665.xml"/><Relationship Id="rId11" Type="http://schemas.openxmlformats.org/officeDocument/2006/relationships/slideLayout" Target="../slideLayouts/slideLayout670.xml"/><Relationship Id="rId5" Type="http://schemas.openxmlformats.org/officeDocument/2006/relationships/slideLayout" Target="../slideLayouts/slideLayout664.xml"/><Relationship Id="rId15" Type="http://schemas.openxmlformats.org/officeDocument/2006/relationships/theme" Target="../theme/theme55.xml"/><Relationship Id="rId10" Type="http://schemas.openxmlformats.org/officeDocument/2006/relationships/slideLayout" Target="../slideLayouts/slideLayout669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663.xml"/><Relationship Id="rId9" Type="http://schemas.openxmlformats.org/officeDocument/2006/relationships/slideLayout" Target="../slideLayouts/slideLayout668.xml"/><Relationship Id="rId14" Type="http://schemas.openxmlformats.org/officeDocument/2006/relationships/slideLayout" Target="../slideLayouts/slideLayout673.xml"/></Relationships>
</file>

<file path=ppt/slideMasters/_rels/slideMaster5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81.xml"/><Relationship Id="rId13" Type="http://schemas.openxmlformats.org/officeDocument/2006/relationships/slideLayout" Target="../slideLayouts/slideLayout68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676.xml"/><Relationship Id="rId7" Type="http://schemas.openxmlformats.org/officeDocument/2006/relationships/slideLayout" Target="../slideLayouts/slideLayout680.xml"/><Relationship Id="rId12" Type="http://schemas.openxmlformats.org/officeDocument/2006/relationships/slideLayout" Target="../slideLayouts/slideLayout68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675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674.xml"/><Relationship Id="rId6" Type="http://schemas.openxmlformats.org/officeDocument/2006/relationships/slideLayout" Target="../slideLayouts/slideLayout679.xml"/><Relationship Id="rId11" Type="http://schemas.openxmlformats.org/officeDocument/2006/relationships/slideLayout" Target="../slideLayouts/slideLayout684.xml"/><Relationship Id="rId5" Type="http://schemas.openxmlformats.org/officeDocument/2006/relationships/slideLayout" Target="../slideLayouts/slideLayout678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683.xml"/><Relationship Id="rId4" Type="http://schemas.openxmlformats.org/officeDocument/2006/relationships/slideLayout" Target="../slideLayouts/slideLayout677.xml"/><Relationship Id="rId9" Type="http://schemas.openxmlformats.org/officeDocument/2006/relationships/slideLayout" Target="../slideLayouts/slideLayout682.xml"/><Relationship Id="rId14" Type="http://schemas.openxmlformats.org/officeDocument/2006/relationships/theme" Target="../theme/theme56.xml"/></Relationships>
</file>

<file path=ppt/slideMasters/_rels/slideMaster5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4.xml"/><Relationship Id="rId13" Type="http://schemas.openxmlformats.org/officeDocument/2006/relationships/slideLayout" Target="../slideLayouts/slideLayout699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689.xml"/><Relationship Id="rId7" Type="http://schemas.openxmlformats.org/officeDocument/2006/relationships/slideLayout" Target="../slideLayouts/slideLayout693.xml"/><Relationship Id="rId12" Type="http://schemas.openxmlformats.org/officeDocument/2006/relationships/slideLayout" Target="../slideLayouts/slideLayout698.xml"/><Relationship Id="rId17" Type="http://schemas.openxmlformats.org/officeDocument/2006/relationships/image" Target="../media/image8.png"/><Relationship Id="rId2" Type="http://schemas.openxmlformats.org/officeDocument/2006/relationships/slideLayout" Target="../slideLayouts/slideLayout688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687.xml"/><Relationship Id="rId6" Type="http://schemas.openxmlformats.org/officeDocument/2006/relationships/slideLayout" Target="../slideLayouts/slideLayout692.xml"/><Relationship Id="rId11" Type="http://schemas.openxmlformats.org/officeDocument/2006/relationships/slideLayout" Target="../slideLayouts/slideLayout697.xml"/><Relationship Id="rId5" Type="http://schemas.openxmlformats.org/officeDocument/2006/relationships/slideLayout" Target="../slideLayouts/slideLayout691.xml"/><Relationship Id="rId15" Type="http://schemas.openxmlformats.org/officeDocument/2006/relationships/theme" Target="../theme/theme57.xml"/><Relationship Id="rId10" Type="http://schemas.openxmlformats.org/officeDocument/2006/relationships/slideLayout" Target="../slideLayouts/slideLayout696.xml"/><Relationship Id="rId19" Type="http://schemas.openxmlformats.org/officeDocument/2006/relationships/image" Target="../media/image4.png"/><Relationship Id="rId4" Type="http://schemas.openxmlformats.org/officeDocument/2006/relationships/slideLayout" Target="../slideLayouts/slideLayout690.xml"/><Relationship Id="rId9" Type="http://schemas.openxmlformats.org/officeDocument/2006/relationships/slideLayout" Target="../slideLayouts/slideLayout695.xml"/><Relationship Id="rId14" Type="http://schemas.openxmlformats.org/officeDocument/2006/relationships/slideLayout" Target="../slideLayouts/slideLayout700.xml"/></Relationships>
</file>

<file path=ppt/slideMasters/_rels/slideMaster5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08.xml"/><Relationship Id="rId13" Type="http://schemas.openxmlformats.org/officeDocument/2006/relationships/slideLayout" Target="../slideLayouts/slideLayout7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03.xml"/><Relationship Id="rId7" Type="http://schemas.openxmlformats.org/officeDocument/2006/relationships/slideLayout" Target="../slideLayouts/slideLayout707.xml"/><Relationship Id="rId12" Type="http://schemas.openxmlformats.org/officeDocument/2006/relationships/slideLayout" Target="../slideLayouts/slideLayout7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02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01.xml"/><Relationship Id="rId6" Type="http://schemas.openxmlformats.org/officeDocument/2006/relationships/slideLayout" Target="../slideLayouts/slideLayout706.xml"/><Relationship Id="rId11" Type="http://schemas.openxmlformats.org/officeDocument/2006/relationships/slideLayout" Target="../slideLayouts/slideLayout711.xml"/><Relationship Id="rId5" Type="http://schemas.openxmlformats.org/officeDocument/2006/relationships/slideLayout" Target="../slideLayouts/slideLayout705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710.xml"/><Relationship Id="rId4" Type="http://schemas.openxmlformats.org/officeDocument/2006/relationships/slideLayout" Target="../slideLayouts/slideLayout704.xml"/><Relationship Id="rId9" Type="http://schemas.openxmlformats.org/officeDocument/2006/relationships/slideLayout" Target="../slideLayouts/slideLayout709.xml"/><Relationship Id="rId14" Type="http://schemas.openxmlformats.org/officeDocument/2006/relationships/theme" Target="../theme/theme58.xml"/></Relationships>
</file>

<file path=ppt/slideMasters/_rels/slideMaster5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1.xml"/><Relationship Id="rId13" Type="http://schemas.openxmlformats.org/officeDocument/2006/relationships/slideLayout" Target="../slideLayouts/slideLayout726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16.xml"/><Relationship Id="rId7" Type="http://schemas.openxmlformats.org/officeDocument/2006/relationships/slideLayout" Target="../slideLayouts/slideLayout720.xml"/><Relationship Id="rId12" Type="http://schemas.openxmlformats.org/officeDocument/2006/relationships/slideLayout" Target="../slideLayouts/slideLayout72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15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14.xml"/><Relationship Id="rId6" Type="http://schemas.openxmlformats.org/officeDocument/2006/relationships/slideLayout" Target="../slideLayouts/slideLayout719.xml"/><Relationship Id="rId11" Type="http://schemas.openxmlformats.org/officeDocument/2006/relationships/slideLayout" Target="../slideLayouts/slideLayout724.xml"/><Relationship Id="rId5" Type="http://schemas.openxmlformats.org/officeDocument/2006/relationships/slideLayout" Target="../slideLayouts/slideLayout718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723.xml"/><Relationship Id="rId4" Type="http://schemas.openxmlformats.org/officeDocument/2006/relationships/slideLayout" Target="../slideLayouts/slideLayout717.xml"/><Relationship Id="rId9" Type="http://schemas.openxmlformats.org/officeDocument/2006/relationships/slideLayout" Target="../slideLayouts/slideLayout722.xml"/><Relationship Id="rId14" Type="http://schemas.openxmlformats.org/officeDocument/2006/relationships/theme" Target="../theme/theme59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9.xml"/><Relationship Id="rId13" Type="http://schemas.openxmlformats.org/officeDocument/2006/relationships/slideLayout" Target="../slideLayouts/slideLayout74.xml"/><Relationship Id="rId18" Type="http://schemas.openxmlformats.org/officeDocument/2006/relationships/image" Target="../media/image8.png"/><Relationship Id="rId3" Type="http://schemas.openxmlformats.org/officeDocument/2006/relationships/slideLayout" Target="../slideLayouts/slideLayout64.xml"/><Relationship Id="rId7" Type="http://schemas.openxmlformats.org/officeDocument/2006/relationships/slideLayout" Target="../slideLayouts/slideLayout68.xml"/><Relationship Id="rId12" Type="http://schemas.openxmlformats.org/officeDocument/2006/relationships/slideLayout" Target="../slideLayouts/slideLayout73.xml"/><Relationship Id="rId17" Type="http://schemas.openxmlformats.org/officeDocument/2006/relationships/image" Target="../media/image1.jpeg"/><Relationship Id="rId2" Type="http://schemas.openxmlformats.org/officeDocument/2006/relationships/slideLayout" Target="../slideLayouts/slideLayout63.xml"/><Relationship Id="rId16" Type="http://schemas.openxmlformats.org/officeDocument/2006/relationships/theme" Target="../theme/theme6.xml"/><Relationship Id="rId20" Type="http://schemas.openxmlformats.org/officeDocument/2006/relationships/image" Target="../media/image4.png"/><Relationship Id="rId1" Type="http://schemas.openxmlformats.org/officeDocument/2006/relationships/slideLayout" Target="../slideLayouts/slideLayout62.xml"/><Relationship Id="rId6" Type="http://schemas.openxmlformats.org/officeDocument/2006/relationships/slideLayout" Target="../slideLayouts/slideLayout67.xml"/><Relationship Id="rId11" Type="http://schemas.openxmlformats.org/officeDocument/2006/relationships/slideLayout" Target="../slideLayouts/slideLayout72.xml"/><Relationship Id="rId5" Type="http://schemas.openxmlformats.org/officeDocument/2006/relationships/slideLayout" Target="../slideLayouts/slideLayout66.xml"/><Relationship Id="rId15" Type="http://schemas.openxmlformats.org/officeDocument/2006/relationships/slideLayout" Target="../slideLayouts/slideLayout76.xml"/><Relationship Id="rId10" Type="http://schemas.openxmlformats.org/officeDocument/2006/relationships/slideLayout" Target="../slideLayouts/slideLayout71.xml"/><Relationship Id="rId19" Type="http://schemas.openxmlformats.org/officeDocument/2006/relationships/image" Target="../media/image3.png"/><Relationship Id="rId4" Type="http://schemas.openxmlformats.org/officeDocument/2006/relationships/slideLayout" Target="../slideLayouts/slideLayout65.xml"/><Relationship Id="rId9" Type="http://schemas.openxmlformats.org/officeDocument/2006/relationships/slideLayout" Target="../slideLayouts/slideLayout70.xml"/><Relationship Id="rId14" Type="http://schemas.openxmlformats.org/officeDocument/2006/relationships/slideLayout" Target="../slideLayouts/slideLayout75.xml"/></Relationships>
</file>

<file path=ppt/slideMasters/_rels/slideMaster6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4.xml"/><Relationship Id="rId13" Type="http://schemas.openxmlformats.org/officeDocument/2006/relationships/slideLayout" Target="../slideLayouts/slideLayout73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29.xml"/><Relationship Id="rId7" Type="http://schemas.openxmlformats.org/officeDocument/2006/relationships/slideLayout" Target="../slideLayouts/slideLayout733.xml"/><Relationship Id="rId12" Type="http://schemas.openxmlformats.org/officeDocument/2006/relationships/slideLayout" Target="../slideLayouts/slideLayout73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28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27.xml"/><Relationship Id="rId6" Type="http://schemas.openxmlformats.org/officeDocument/2006/relationships/slideLayout" Target="../slideLayouts/slideLayout732.xml"/><Relationship Id="rId11" Type="http://schemas.openxmlformats.org/officeDocument/2006/relationships/slideLayout" Target="../slideLayouts/slideLayout737.xml"/><Relationship Id="rId5" Type="http://schemas.openxmlformats.org/officeDocument/2006/relationships/slideLayout" Target="../slideLayouts/slideLayout731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736.xml"/><Relationship Id="rId4" Type="http://schemas.openxmlformats.org/officeDocument/2006/relationships/slideLayout" Target="../slideLayouts/slideLayout730.xml"/><Relationship Id="rId9" Type="http://schemas.openxmlformats.org/officeDocument/2006/relationships/slideLayout" Target="../slideLayouts/slideLayout735.xml"/><Relationship Id="rId14" Type="http://schemas.openxmlformats.org/officeDocument/2006/relationships/theme" Target="../theme/theme60.xml"/></Relationships>
</file>

<file path=ppt/slideMasters/_rels/slideMaster6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7.xml"/><Relationship Id="rId13" Type="http://schemas.openxmlformats.org/officeDocument/2006/relationships/theme" Target="../theme/theme61.xml"/><Relationship Id="rId3" Type="http://schemas.openxmlformats.org/officeDocument/2006/relationships/slideLayout" Target="../slideLayouts/slideLayout742.xml"/><Relationship Id="rId7" Type="http://schemas.openxmlformats.org/officeDocument/2006/relationships/slideLayout" Target="../slideLayouts/slideLayout746.xml"/><Relationship Id="rId12" Type="http://schemas.openxmlformats.org/officeDocument/2006/relationships/slideLayout" Target="../slideLayouts/slideLayout751.xml"/><Relationship Id="rId17" Type="http://schemas.openxmlformats.org/officeDocument/2006/relationships/image" Target="../media/image4.png"/><Relationship Id="rId2" Type="http://schemas.openxmlformats.org/officeDocument/2006/relationships/slideLayout" Target="../slideLayouts/slideLayout741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740.xml"/><Relationship Id="rId6" Type="http://schemas.openxmlformats.org/officeDocument/2006/relationships/slideLayout" Target="../slideLayouts/slideLayout745.xml"/><Relationship Id="rId11" Type="http://schemas.openxmlformats.org/officeDocument/2006/relationships/slideLayout" Target="../slideLayouts/slideLayout750.xml"/><Relationship Id="rId5" Type="http://schemas.openxmlformats.org/officeDocument/2006/relationships/slideLayout" Target="../slideLayouts/slideLayout744.xml"/><Relationship Id="rId15" Type="http://schemas.openxmlformats.org/officeDocument/2006/relationships/image" Target="../media/image13.png"/><Relationship Id="rId10" Type="http://schemas.openxmlformats.org/officeDocument/2006/relationships/slideLayout" Target="../slideLayouts/slideLayout749.xml"/><Relationship Id="rId4" Type="http://schemas.openxmlformats.org/officeDocument/2006/relationships/slideLayout" Target="../slideLayouts/slideLayout743.xml"/><Relationship Id="rId9" Type="http://schemas.openxmlformats.org/officeDocument/2006/relationships/slideLayout" Target="../slideLayouts/slideLayout748.xml"/><Relationship Id="rId14" Type="http://schemas.openxmlformats.org/officeDocument/2006/relationships/image" Target="../media/image12.jpe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79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8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1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theme" Target="../theme/theme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7.xml"/><Relationship Id="rId13" Type="http://schemas.openxmlformats.org/officeDocument/2006/relationships/image" Target="../media/image12.jpeg"/><Relationship Id="rId3" Type="http://schemas.openxmlformats.org/officeDocument/2006/relationships/slideLayout" Target="../slideLayouts/slideLayout92.xml"/><Relationship Id="rId7" Type="http://schemas.openxmlformats.org/officeDocument/2006/relationships/slideLayout" Target="../slideLayouts/slideLayout96.xml"/><Relationship Id="rId12" Type="http://schemas.openxmlformats.org/officeDocument/2006/relationships/theme" Target="../theme/theme8.xml"/><Relationship Id="rId2" Type="http://schemas.openxmlformats.org/officeDocument/2006/relationships/slideLayout" Target="../slideLayouts/slideLayout91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90.xml"/><Relationship Id="rId6" Type="http://schemas.openxmlformats.org/officeDocument/2006/relationships/slideLayout" Target="../slideLayouts/slideLayout95.xml"/><Relationship Id="rId11" Type="http://schemas.openxmlformats.org/officeDocument/2006/relationships/slideLayout" Target="../slideLayouts/slideLayout100.xml"/><Relationship Id="rId5" Type="http://schemas.openxmlformats.org/officeDocument/2006/relationships/slideLayout" Target="../slideLayouts/slideLayout94.xml"/><Relationship Id="rId15" Type="http://schemas.openxmlformats.org/officeDocument/2006/relationships/image" Target="../media/image3.png"/><Relationship Id="rId10" Type="http://schemas.openxmlformats.org/officeDocument/2006/relationships/slideLayout" Target="../slideLayouts/slideLayout99.xml"/><Relationship Id="rId4" Type="http://schemas.openxmlformats.org/officeDocument/2006/relationships/slideLayout" Target="../slideLayouts/slideLayout93.xml"/><Relationship Id="rId9" Type="http://schemas.openxmlformats.org/officeDocument/2006/relationships/slideLayout" Target="../slideLayouts/slideLayout98.xml"/><Relationship Id="rId14" Type="http://schemas.openxmlformats.org/officeDocument/2006/relationships/image" Target="../media/image13.pn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slideLayout" Target="../slideLayouts/slideLayout113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slideLayout" Target="../slideLayouts/slideLayout1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2.xml"/><Relationship Id="rId16" Type="http://schemas.openxmlformats.org/officeDocument/2006/relationships/image" Target="../media/image13.png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slideLayout" Target="../slideLayouts/slideLayout111.xml"/><Relationship Id="rId5" Type="http://schemas.openxmlformats.org/officeDocument/2006/relationships/slideLayout" Target="../slideLayouts/slideLayout105.xml"/><Relationship Id="rId15" Type="http://schemas.openxmlformats.org/officeDocument/2006/relationships/image" Target="../media/image12.jpeg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C25FF4-21E9-41B0-81DE-DEE261383BF1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75423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fontAlgn="base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fontAlgn="base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08805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3" r:id="rId1"/>
    <p:sldLayoutId id="2147483784" r:id="rId2"/>
    <p:sldLayoutId id="2147483785" r:id="rId3"/>
    <p:sldLayoutId id="2147483786" r:id="rId4"/>
    <p:sldLayoutId id="2147483787" r:id="rId5"/>
    <p:sldLayoutId id="2147483788" r:id="rId6"/>
    <p:sldLayoutId id="2147483789" r:id="rId7"/>
    <p:sldLayoutId id="2147483790" r:id="rId8"/>
    <p:sldLayoutId id="2147483791" r:id="rId9"/>
    <p:sldLayoutId id="2147483792" r:id="rId10"/>
    <p:sldLayoutId id="2147483793" r:id="rId11"/>
    <p:sldLayoutId id="2147483794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171729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7" r:id="rId1"/>
    <p:sldLayoutId id="2147483798" r:id="rId2"/>
    <p:sldLayoutId id="2147483799" r:id="rId3"/>
    <p:sldLayoutId id="2147483800" r:id="rId4"/>
    <p:sldLayoutId id="2147483801" r:id="rId5"/>
    <p:sldLayoutId id="2147483802" r:id="rId6"/>
    <p:sldLayoutId id="2147483803" r:id="rId7"/>
    <p:sldLayoutId id="2147483804" r:id="rId8"/>
    <p:sldLayoutId id="2147483805" r:id="rId9"/>
    <p:sldLayoutId id="2147483806" r:id="rId10"/>
    <p:sldLayoutId id="2147483807" r:id="rId11"/>
    <p:sldLayoutId id="2147483808" r:id="rId12"/>
    <p:sldLayoutId id="2147483809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0" y="6448434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  <a:latin typeface="Arial" charset="0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02ED051-CC43-44F4-A9B0-2684BBEE084F}" type="slidenum">
              <a:rPr lang="ru-RU">
                <a:solidFill>
                  <a:srgbClr val="0000FF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00FF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911" y="106363"/>
            <a:ext cx="961363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7189702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  <p:sldLayoutId id="2147483818" r:id="rId8"/>
    <p:sldLayoutId id="2147483819" r:id="rId9"/>
    <p:sldLayoutId id="2147483820" r:id="rId10"/>
    <p:sldLayoutId id="214748382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C25FF4-21E9-41B0-81DE-DEE261383BF1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9491500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fontAlgn="base">
        <a:spcBef>
          <a:spcPct val="0"/>
        </a:spcBef>
        <a:spcAft>
          <a:spcPct val="30000"/>
        </a:spcAft>
        <a:buBlip>
          <a:blip r:embed="rId17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fontAlgn="base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9C25FF4-21E9-41B0-81DE-DEE261383BF1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2053" name="navigation8" descr="ujkm,"/>
          <p:cNvPicPr>
            <a:picLocks noChangeAspect="1" noChangeArrowheads="1"/>
          </p:cNvPicPr>
          <p:nvPr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1024535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</p:sldLayoutIdLst>
  <p:transition/>
  <p:timing>
    <p:tnLst>
      <p:par>
        <p:cTn id="1" dur="indefinite" restart="never" nodeType="tmRoot"/>
      </p:par>
    </p:tnLst>
  </p:timing>
  <p:hf sldNum="0" hdr="0" ftr="0" dt="0"/>
  <p:txStyles>
    <p:titleStyle>
      <a:lvl1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fontAlgn="base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fontAlgn="base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fontAlgn="base">
        <a:spcBef>
          <a:spcPct val="0"/>
        </a:spcBef>
        <a:spcAft>
          <a:spcPct val="30000"/>
        </a:spcAft>
        <a:buBlip>
          <a:blip r:embed="rId17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fontAlgn="base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 i="0">
                <a:solidFill>
                  <a:schemeClr val="hlink"/>
                </a:solidFill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5F3FEE-19FF-4045-BF57-5400781DCCBB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44592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7" r:id="rId9"/>
    <p:sldLayoutId id="2147483858" r:id="rId10"/>
    <p:sldLayoutId id="214748385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kumimoji="1" sz="1300">
          <a:solidFill>
            <a:schemeClr val="tx1"/>
          </a:solidFill>
          <a:latin typeface="+mn-lt"/>
          <a:ea typeface="Arial" charset="0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kumimoji="1" sz="1137">
          <a:solidFill>
            <a:schemeClr val="tx1"/>
          </a:solidFill>
          <a:latin typeface="+mn-lt"/>
          <a:ea typeface="Arial" charset="0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kumimoji="1" sz="1787">
          <a:solidFill>
            <a:schemeClr val="tx1"/>
          </a:solidFill>
          <a:latin typeface="+mn-lt"/>
          <a:ea typeface="Arial" charset="0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Arial" charset="0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Arial" charset="0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3" y="644843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1787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78987FA7-D92A-4206-AA46-0513A7E71A40}" type="slidenum">
              <a:rPr lang="ru-RU"/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0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2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367265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1" r:id="rId1"/>
    <p:sldLayoutId id="2147483862" r:id="rId2"/>
    <p:sldLayoutId id="2147483863" r:id="rId3"/>
    <p:sldLayoutId id="2147483864" r:id="rId4"/>
    <p:sldLayoutId id="2147483865" r:id="rId5"/>
    <p:sldLayoutId id="2147483866" r:id="rId6"/>
    <p:sldLayoutId id="2147483867" r:id="rId7"/>
    <p:sldLayoutId id="2147483868" r:id="rId8"/>
    <p:sldLayoutId id="2147483869" r:id="rId9"/>
    <p:sldLayoutId id="2147483870" r:id="rId10"/>
    <p:sldLayoutId id="2147483871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38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770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15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539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7007" indent="-14700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24" indent="-14442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</a:defRPr>
      </a:lvl2pPr>
      <a:lvl3pPr marL="943936" indent="-217931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</a:defRPr>
      </a:lvl3pPr>
      <a:lvl4pPr marL="1352718" indent="-18569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4127" indent="-18569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512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6897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282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9668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86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70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156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53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925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30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695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07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3" y="644843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1787" b="1">
                <a:solidFill>
                  <a:srgbClr val="003274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78987FA7-D92A-4206-AA46-0513A7E71A40}" type="slidenum">
              <a:rPr lang="ru-RU"/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/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0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2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526083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3" r:id="rId1"/>
    <p:sldLayoutId id="2147483874" r:id="rId2"/>
    <p:sldLayoutId id="2147483875" r:id="rId3"/>
    <p:sldLayoutId id="2147483876" r:id="rId4"/>
    <p:sldLayoutId id="2147483877" r:id="rId5"/>
    <p:sldLayoutId id="2147483878" r:id="rId6"/>
    <p:sldLayoutId id="2147483879" r:id="rId7"/>
    <p:sldLayoutId id="2147483880" r:id="rId8"/>
    <p:sldLayoutId id="2147483881" r:id="rId9"/>
    <p:sldLayoutId id="2147483882" r:id="rId10"/>
    <p:sldLayoutId id="2147483883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38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770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15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539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7007" indent="-14700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24" indent="-14442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</a:defRPr>
      </a:lvl2pPr>
      <a:lvl3pPr marL="943936" indent="-217931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</a:defRPr>
      </a:lvl3pPr>
      <a:lvl4pPr marL="1352718" indent="-18569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4127" indent="-18569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512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6897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282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9668" indent="-18569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386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770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156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53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6925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30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695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079" algn="l" defTabSz="742770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 smtClean="0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3F34A0F-E493-44EC-A0E5-656707A2F0F9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23316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5" r:id="rId1"/>
    <p:sldLayoutId id="2147483886" r:id="rId2"/>
    <p:sldLayoutId id="2147483887" r:id="rId3"/>
    <p:sldLayoutId id="2147483888" r:id="rId4"/>
    <p:sldLayoutId id="2147483889" r:id="rId5"/>
    <p:sldLayoutId id="2147483890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03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06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309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412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4458" indent="-1444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0206" indent="-1418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1557" indent="-21539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0426" indent="-18315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1904" indent="-18315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355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458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5614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6645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03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062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309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412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515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618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721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8246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9D37756-6D07-4058-8A03-F4BA875EC7DB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680361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9" r:id="rId1"/>
    <p:sldLayoutId id="2147483900" r:id="rId2"/>
    <p:sldLayoutId id="2147483901" r:id="rId3"/>
    <p:sldLayoutId id="2147483902" r:id="rId4"/>
    <p:sldLayoutId id="2147483903" r:id="rId5"/>
    <p:sldLayoutId id="2147483904" r:id="rId6"/>
    <p:sldLayoutId id="2147483905" r:id="rId7"/>
    <p:sldLayoutId id="2147483906" r:id="rId8"/>
    <p:sldLayoutId id="2147483907" r:id="rId9"/>
    <p:sldLayoutId id="2147483908" r:id="rId10"/>
    <p:sldLayoutId id="2147483909" r:id="rId11"/>
    <p:sldLayoutId id="2147483910" r:id="rId12"/>
    <p:sldLayoutId id="2147483911" r:id="rId13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03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06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309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412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4458" indent="-1444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0206" indent="-1418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1557" indent="-21539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0426" indent="-18315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1904" indent="-18315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355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458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5614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6645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03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062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309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412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515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618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721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8246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817BBD3-FFB0-4951-9A0A-6A3083D7E029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27569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0DFCBFA-DC32-4BE7-BB23-A93CAF344859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40900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0" r:id="rId8"/>
    <p:sldLayoutId id="2147483921" r:id="rId9"/>
    <p:sldLayoutId id="2147483922" r:id="rId10"/>
    <p:sldLayoutId id="2147483923" r:id="rId11"/>
    <p:sldLayoutId id="2147483924" r:id="rId12"/>
    <p:sldLayoutId id="2147483925" r:id="rId13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03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06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309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412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4458" indent="-1444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0206" indent="-1418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1557" indent="-21539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0426" indent="-18315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1904" indent="-18315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355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458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5614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6645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03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062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309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412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515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618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721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8246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C0DFCBFA-DC32-4BE7-BB23-A93CAF344859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22217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28" r:id="rId2"/>
    <p:sldLayoutId id="2147483929" r:id="rId3"/>
    <p:sldLayoutId id="2147483930" r:id="rId4"/>
    <p:sldLayoutId id="2147483931" r:id="rId5"/>
    <p:sldLayoutId id="2147483932" r:id="rId6"/>
    <p:sldLayoutId id="2147483933" r:id="rId7"/>
    <p:sldLayoutId id="2147483934" r:id="rId8"/>
    <p:sldLayoutId id="2147483935" r:id="rId9"/>
    <p:sldLayoutId id="2147483936" r:id="rId10"/>
    <p:sldLayoutId id="2147483937" r:id="rId11"/>
    <p:sldLayoutId id="2147483938" r:id="rId12"/>
    <p:sldLayoutId id="2147483939" r:id="rId13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03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06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309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412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4458" indent="-1444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0206" indent="-1418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1557" indent="-21539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0426" indent="-18315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1904" indent="-18315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355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458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5614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6645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03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062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309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412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515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618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721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8246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928913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1" r:id="rId1"/>
    <p:sldLayoutId id="2147483942" r:id="rId2"/>
    <p:sldLayoutId id="2147483943" r:id="rId3"/>
    <p:sldLayoutId id="2147483944" r:id="rId4"/>
    <p:sldLayoutId id="2147483945" r:id="rId5"/>
    <p:sldLayoutId id="2147483946" r:id="rId6"/>
    <p:sldLayoutId id="2147483947" r:id="rId7"/>
    <p:sldLayoutId id="2147483948" r:id="rId8"/>
    <p:sldLayoutId id="2147483949" r:id="rId9"/>
    <p:sldLayoutId id="2147483950" r:id="rId10"/>
    <p:sldLayoutId id="2147483951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91459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  <p:sldLayoutId id="2147483955" r:id="rId3"/>
    <p:sldLayoutId id="2147483956" r:id="rId4"/>
    <p:sldLayoutId id="2147483957" r:id="rId5"/>
    <p:sldLayoutId id="2147483958" r:id="rId6"/>
    <p:sldLayoutId id="2147483959" r:id="rId7"/>
    <p:sldLayoutId id="2147483960" r:id="rId8"/>
    <p:sldLayoutId id="2147483961" r:id="rId9"/>
    <p:sldLayoutId id="2147483962" r:id="rId10"/>
    <p:sldLayoutId id="2147483963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42216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5" r:id="rId1"/>
    <p:sldLayoutId id="2147483966" r:id="rId2"/>
    <p:sldLayoutId id="2147483967" r:id="rId3"/>
    <p:sldLayoutId id="2147483968" r:id="rId4"/>
    <p:sldLayoutId id="2147483969" r:id="rId5"/>
    <p:sldLayoutId id="2147483970" r:id="rId6"/>
    <p:sldLayoutId id="2147483971" r:id="rId7"/>
    <p:sldLayoutId id="2147483972" r:id="rId8"/>
    <p:sldLayoutId id="2147483973" r:id="rId9"/>
    <p:sldLayoutId id="2147483974" r:id="rId10"/>
    <p:sldLayoutId id="2147483975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09662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7" r:id="rId1"/>
    <p:sldLayoutId id="2147483978" r:id="rId2"/>
    <p:sldLayoutId id="2147483979" r:id="rId3"/>
    <p:sldLayoutId id="2147483980" r:id="rId4"/>
    <p:sldLayoutId id="2147483981" r:id="rId5"/>
    <p:sldLayoutId id="2147483982" r:id="rId6"/>
    <p:sldLayoutId id="2147483983" r:id="rId7"/>
    <p:sldLayoutId id="2147483984" r:id="rId8"/>
    <p:sldLayoutId id="2147483985" r:id="rId9"/>
    <p:sldLayoutId id="2147483986" r:id="rId10"/>
    <p:sldLayoutId id="2147483987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74394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9" r:id="rId1"/>
    <p:sldLayoutId id="2147483990" r:id="rId2"/>
    <p:sldLayoutId id="2147483991" r:id="rId3"/>
    <p:sldLayoutId id="2147483992" r:id="rId4"/>
    <p:sldLayoutId id="2147483993" r:id="rId5"/>
    <p:sldLayoutId id="2147483994" r:id="rId6"/>
    <p:sldLayoutId id="2147483995" r:id="rId7"/>
    <p:sldLayoutId id="2147483996" r:id="rId8"/>
    <p:sldLayoutId id="2147483997" r:id="rId9"/>
    <p:sldLayoutId id="2147483998" r:id="rId10"/>
    <p:sldLayoutId id="214748399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>
            <a:extLst/>
          </p:cNvPr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FF61D06-C598-406C-82E2-D84F7B4393E5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498629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01" r:id="rId1"/>
    <p:sldLayoutId id="2147484002" r:id="rId2"/>
    <p:sldLayoutId id="2147484003" r:id="rId3"/>
    <p:sldLayoutId id="2147484004" r:id="rId4"/>
    <p:sldLayoutId id="2147484005" r:id="rId5"/>
    <p:sldLayoutId id="2147484006" r:id="rId6"/>
    <p:sldLayoutId id="2147484007" r:id="rId7"/>
    <p:sldLayoutId id="2147484008" r:id="rId8"/>
    <p:sldLayoutId id="2147484009" r:id="rId9"/>
    <p:sldLayoutId id="2147484010" r:id="rId10"/>
    <p:sldLayoutId id="2147484011" r:id="rId11"/>
    <p:sldLayoutId id="2147484012" r:id="rId12"/>
    <p:sldLayoutId id="2147484013" r:id="rId13"/>
  </p:sldLayoutIdLst>
  <p:transition/>
  <p:hf hd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03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06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309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412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4458" indent="-14445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0206" indent="-14187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1557" indent="-21539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0426" indent="-18315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1904" indent="-18315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355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4582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5614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6645" indent="-18551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03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062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309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4123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515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6184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7215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8246" algn="l" defTabSz="742062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814327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6" r:id="rId1"/>
    <p:sldLayoutId id="2147484017" r:id="rId2"/>
    <p:sldLayoutId id="2147484018" r:id="rId3"/>
    <p:sldLayoutId id="2147484019" r:id="rId4"/>
    <p:sldLayoutId id="2147484020" r:id="rId5"/>
    <p:sldLayoutId id="2147484021" r:id="rId6"/>
    <p:sldLayoutId id="2147484022" r:id="rId7"/>
    <p:sldLayoutId id="2147484023" r:id="rId8"/>
    <p:sldLayoutId id="2147484024" r:id="rId9"/>
    <p:sldLayoutId id="2147484025" r:id="rId10"/>
    <p:sldLayoutId id="2147484026" r:id="rId11"/>
    <p:sldLayoutId id="2147484027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29A05C4-A9ED-4439-A919-C0506A5E1B8F}" type="slidenum">
              <a:rPr 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46007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29" r:id="rId1"/>
    <p:sldLayoutId id="2147484030" r:id="rId2"/>
    <p:sldLayoutId id="2147484031" r:id="rId3"/>
    <p:sldLayoutId id="2147484032" r:id="rId4"/>
    <p:sldLayoutId id="2147484033" r:id="rId5"/>
    <p:sldLayoutId id="2147484034" r:id="rId6"/>
    <p:sldLayoutId id="2147484035" r:id="rId7"/>
    <p:sldLayoutId id="2147484036" r:id="rId8"/>
    <p:sldLayoutId id="2147484037" r:id="rId9"/>
    <p:sldLayoutId id="2147484038" r:id="rId10"/>
    <p:sldLayoutId id="2147484039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1787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EFE7B6E9-2AB7-4074-BD37-9AA6743645A2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35614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42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84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27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6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48" indent="-14574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495" indent="-1431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137">
          <a:solidFill>
            <a:schemeClr val="tx1"/>
          </a:solidFill>
          <a:latin typeface="+mn-lt"/>
        </a:defRPr>
      </a:lvl2pPr>
      <a:lvl3pPr marL="942847" indent="-216687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1787">
          <a:solidFill>
            <a:schemeClr val="tx1"/>
          </a:solidFill>
          <a:latin typeface="+mn-lt"/>
        </a:defRPr>
      </a:lvl3pPr>
      <a:lvl4pPr marL="1351715" indent="-18444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195" indent="-18444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730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7154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579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70003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2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848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27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697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122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54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97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39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5A05E039-6724-4C78-B492-1D38E4B3B3F5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/>
          </a:p>
        </p:txBody>
      </p:sp>
      <p:sp>
        <p:nvSpPr>
          <p:cNvPr id="2867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28676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28677" name="Picture 6" descr="ujkm,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609342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1" r:id="rId1"/>
    <p:sldLayoutId id="2147484042" r:id="rId2"/>
    <p:sldLayoutId id="2147484043" r:id="rId3"/>
    <p:sldLayoutId id="2147484044" r:id="rId4"/>
    <p:sldLayoutId id="2147484045" r:id="rId5"/>
    <p:sldLayoutId id="2147484046" r:id="rId6"/>
    <p:sldLayoutId id="2147484047" r:id="rId7"/>
    <p:sldLayoutId id="2147484048" r:id="rId8"/>
    <p:sldLayoutId id="2147484049" r:id="rId9"/>
    <p:sldLayoutId id="2147484050" r:id="rId10"/>
    <p:sldLayoutId id="2147484051" r:id="rId11"/>
    <p:sldLayoutId id="2147484052" r:id="rId12"/>
    <p:sldLayoutId id="2147484053" r:id="rId13"/>
    <p:sldLayoutId id="2147484054" r:id="rId14"/>
    <p:sldLayoutId id="2147484055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42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84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27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6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48" indent="-14574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495" indent="-1431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137">
          <a:solidFill>
            <a:schemeClr val="tx1"/>
          </a:solidFill>
          <a:latin typeface="+mn-lt"/>
        </a:defRPr>
      </a:lvl2pPr>
      <a:lvl3pPr marL="942847" indent="-216687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1787">
          <a:solidFill>
            <a:schemeClr val="tx1"/>
          </a:solidFill>
          <a:latin typeface="+mn-lt"/>
        </a:defRPr>
      </a:lvl3pPr>
      <a:lvl4pPr marL="1351715" indent="-18444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195" indent="-18444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730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7154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579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70003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2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848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27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697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122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54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97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39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F53303B-EC5F-4032-8EC8-C138A815ACA4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33726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7" r:id="rId1"/>
    <p:sldLayoutId id="2147484058" r:id="rId2"/>
    <p:sldLayoutId id="2147484059" r:id="rId3"/>
    <p:sldLayoutId id="2147484060" r:id="rId4"/>
    <p:sldLayoutId id="2147484061" r:id="rId5"/>
    <p:sldLayoutId id="2147484062" r:id="rId6"/>
    <p:sldLayoutId id="2147484063" r:id="rId7"/>
    <p:sldLayoutId id="2147484064" r:id="rId8"/>
    <p:sldLayoutId id="2147484065" r:id="rId9"/>
    <p:sldLayoutId id="2147484066" r:id="rId10"/>
    <p:sldLayoutId id="2147484067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90E7E43-1918-4736-A405-7D5A0DBBA6D1}" type="slidenum">
              <a:rPr lang="ru-RU" alt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/>
          </a:p>
        </p:txBody>
      </p:sp>
      <p:sp>
        <p:nvSpPr>
          <p:cNvPr id="4301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301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43013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010488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9" r:id="rId1"/>
    <p:sldLayoutId id="2147484070" r:id="rId2"/>
    <p:sldLayoutId id="2147484071" r:id="rId3"/>
    <p:sldLayoutId id="2147484072" r:id="rId4"/>
    <p:sldLayoutId id="2147484073" r:id="rId5"/>
    <p:sldLayoutId id="2147484074" r:id="rId6"/>
    <p:sldLayoutId id="2147484075" r:id="rId7"/>
    <p:sldLayoutId id="2147484076" r:id="rId8"/>
    <p:sldLayoutId id="2147484077" r:id="rId9"/>
    <p:sldLayoutId id="2147484078" r:id="rId10"/>
    <p:sldLayoutId id="2147484079" r:id="rId11"/>
    <p:sldLayoutId id="2147484080" r:id="rId12"/>
    <p:sldLayoutId id="2147484081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8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2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5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72643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3" r:id="rId1"/>
    <p:sldLayoutId id="2147484084" r:id="rId2"/>
    <p:sldLayoutId id="2147484085" r:id="rId3"/>
    <p:sldLayoutId id="2147484086" r:id="rId4"/>
    <p:sldLayoutId id="2147484087" r:id="rId5"/>
    <p:sldLayoutId id="2147484088" r:id="rId6"/>
    <p:sldLayoutId id="2147484089" r:id="rId7"/>
    <p:sldLayoutId id="2147484090" r:id="rId8"/>
    <p:sldLayoutId id="2147484091" r:id="rId9"/>
    <p:sldLayoutId id="2147484092" r:id="rId10"/>
    <p:sldLayoutId id="2147484093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8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2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5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91533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5" r:id="rId1"/>
    <p:sldLayoutId id="2147484096" r:id="rId2"/>
    <p:sldLayoutId id="2147484097" r:id="rId3"/>
    <p:sldLayoutId id="2147484098" r:id="rId4"/>
    <p:sldLayoutId id="2147484099" r:id="rId5"/>
    <p:sldLayoutId id="2147484100" r:id="rId6"/>
    <p:sldLayoutId id="2147484101" r:id="rId7"/>
    <p:sldLayoutId id="2147484102" r:id="rId8"/>
    <p:sldLayoutId id="2147484103" r:id="rId9"/>
    <p:sldLayoutId id="2147484104" r:id="rId10"/>
    <p:sldLayoutId id="2147484105" r:id="rId11"/>
    <p:sldLayoutId id="2147484106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8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1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2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5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480298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08" r:id="rId1"/>
    <p:sldLayoutId id="2147484109" r:id="rId2"/>
    <p:sldLayoutId id="2147484110" r:id="rId3"/>
    <p:sldLayoutId id="2147484111" r:id="rId4"/>
    <p:sldLayoutId id="2147484112" r:id="rId5"/>
    <p:sldLayoutId id="2147484113" r:id="rId6"/>
    <p:sldLayoutId id="2147484114" r:id="rId7"/>
    <p:sldLayoutId id="2147484115" r:id="rId8"/>
    <p:sldLayoutId id="2147484116" r:id="rId9"/>
    <p:sldLayoutId id="2147484117" r:id="rId10"/>
    <p:sldLayoutId id="214748411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2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55811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2200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EFE7B6E9-2AB7-4074-BD37-9AA6743645A2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6661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5" r:id="rId1"/>
    <p:sldLayoutId id="2147484136" r:id="rId2"/>
    <p:sldLayoutId id="2147484137" r:id="rId3"/>
    <p:sldLayoutId id="2147484138" r:id="rId4"/>
    <p:sldLayoutId id="2147484139" r:id="rId5"/>
    <p:sldLayoutId id="2147484140" r:id="rId6"/>
    <p:sldLayoutId id="2147484141" r:id="rId7"/>
    <p:sldLayoutId id="2147484142" r:id="rId8"/>
    <p:sldLayoutId id="2147484143" r:id="rId9"/>
    <p:sldLayoutId id="2147484144" r:id="rId10"/>
    <p:sldLayoutId id="2147484145" r:id="rId11"/>
    <p:sldLayoutId id="2147484146" r:id="rId12"/>
    <p:sldLayoutId id="2147484147" r:id="rId13"/>
    <p:sldLayoutId id="2147484148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152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303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45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60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207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359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510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1662" indent="-22857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5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6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EAD7091C-5355-4C32-BC5D-4D9AE74F4AF6}" type="slidenum">
              <a:rPr lang="ru-RU" alt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/>
          </a:p>
        </p:txBody>
      </p:sp>
      <p:sp>
        <p:nvSpPr>
          <p:cNvPr id="4301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43012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43013" name="Picture 6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148803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50" r:id="rId1"/>
    <p:sldLayoutId id="2147484151" r:id="rId2"/>
    <p:sldLayoutId id="2147484152" r:id="rId3"/>
    <p:sldLayoutId id="2147484153" r:id="rId4"/>
    <p:sldLayoutId id="2147484154" r:id="rId5"/>
    <p:sldLayoutId id="2147484155" r:id="rId6"/>
    <p:sldLayoutId id="2147484156" r:id="rId7"/>
    <p:sldLayoutId id="2147484157" r:id="rId8"/>
    <p:sldLayoutId id="2147484158" r:id="rId9"/>
    <p:sldLayoutId id="2147484159" r:id="rId10"/>
    <p:sldLayoutId id="2147484160" r:id="rId11"/>
    <p:sldLayoutId id="2147484161" r:id="rId12"/>
    <p:sldLayoutId id="2147484162" r:id="rId13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812C63C8-3809-43A1-85E7-B0D903CD3C46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908871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4" r:id="rId1"/>
    <p:sldLayoutId id="2147484165" r:id="rId2"/>
    <p:sldLayoutId id="2147484166" r:id="rId3"/>
    <p:sldLayoutId id="2147484167" r:id="rId4"/>
    <p:sldLayoutId id="2147484168" r:id="rId5"/>
    <p:sldLayoutId id="2147484169" r:id="rId6"/>
    <p:sldLayoutId id="2147484170" r:id="rId7"/>
    <p:sldLayoutId id="2147484171" r:id="rId8"/>
    <p:sldLayoutId id="2147484172" r:id="rId9"/>
    <p:sldLayoutId id="2147484173" r:id="rId10"/>
    <p:sldLayoutId id="2147484174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 i="0">
                <a:solidFill>
                  <a:schemeClr val="hlink"/>
                </a:solidFill>
                <a:ea typeface="+mn-ea"/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505F3FEE-19FF-4045-BF57-5400781DCCBB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48901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0" r:id="rId1"/>
    <p:sldLayoutId id="2147483701" r:id="rId2"/>
    <p:sldLayoutId id="2147483702" r:id="rId3"/>
    <p:sldLayoutId id="2147483703" r:id="rId4"/>
    <p:sldLayoutId id="2147483704" r:id="rId5"/>
    <p:sldLayoutId id="2147483705" r:id="rId6"/>
    <p:sldLayoutId id="2147483706" r:id="rId7"/>
    <p:sldLayoutId id="2147483707" r:id="rId8"/>
    <p:sldLayoutId id="2147483708" r:id="rId9"/>
    <p:sldLayoutId id="2147483709" r:id="rId10"/>
    <p:sldLayoutId id="2147483710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Arial" charset="0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ea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kumimoji="1" sz="1300">
          <a:solidFill>
            <a:schemeClr val="tx1"/>
          </a:solidFill>
          <a:latin typeface="+mn-lt"/>
          <a:ea typeface="Arial" charset="0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kumimoji="1" sz="1137">
          <a:solidFill>
            <a:schemeClr val="tx1"/>
          </a:solidFill>
          <a:latin typeface="+mn-lt"/>
          <a:ea typeface="Arial" charset="0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kumimoji="1" sz="1787">
          <a:solidFill>
            <a:schemeClr val="tx1"/>
          </a:solidFill>
          <a:latin typeface="+mn-lt"/>
          <a:ea typeface="Arial" charset="0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kumimoji="1" sz="1625">
          <a:solidFill>
            <a:schemeClr val="tx1"/>
          </a:solidFill>
          <a:latin typeface="+mn-lt"/>
          <a:ea typeface="Arial" charset="0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kumimoji="1" sz="1625">
          <a:solidFill>
            <a:schemeClr val="tx1"/>
          </a:solidFill>
          <a:latin typeface="+mn-lt"/>
          <a:ea typeface="Arial" charset="0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2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2596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6" r:id="rId1"/>
    <p:sldLayoutId id="2147484177" r:id="rId2"/>
    <p:sldLayoutId id="2147484178" r:id="rId3"/>
    <p:sldLayoutId id="2147484179" r:id="rId4"/>
    <p:sldLayoutId id="2147484180" r:id="rId5"/>
    <p:sldLayoutId id="2147484181" r:id="rId6"/>
    <p:sldLayoutId id="2147484182" r:id="rId7"/>
    <p:sldLayoutId id="2147484183" r:id="rId8"/>
    <p:sldLayoutId id="2147484184" r:id="rId9"/>
    <p:sldLayoutId id="2147484185" r:id="rId10"/>
    <p:sldLayoutId id="2147484186" r:id="rId11"/>
    <p:sldLayoutId id="2147484187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38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951843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89" r:id="rId1"/>
    <p:sldLayoutId id="2147484190" r:id="rId2"/>
    <p:sldLayoutId id="2147484191" r:id="rId3"/>
    <p:sldLayoutId id="2147484192" r:id="rId4"/>
    <p:sldLayoutId id="2147484193" r:id="rId5"/>
    <p:sldLayoutId id="2147484194" r:id="rId6"/>
    <p:sldLayoutId id="2147484195" r:id="rId7"/>
    <p:sldLayoutId id="2147484196" r:id="rId8"/>
    <p:sldLayoutId id="2147484197" r:id="rId9"/>
    <p:sldLayoutId id="2147484198" r:id="rId10"/>
    <p:sldLayoutId id="2147484199" r:id="rId11"/>
    <p:sldLayoutId id="2147484200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5840579-D263-438A-8137-B349E0A46269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86285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03" r:id="rId1"/>
    <p:sldLayoutId id="2147484204" r:id="rId2"/>
    <p:sldLayoutId id="2147484205" r:id="rId3"/>
    <p:sldLayoutId id="2147484206" r:id="rId4"/>
    <p:sldLayoutId id="2147484207" r:id="rId5"/>
    <p:sldLayoutId id="2147484208" r:id="rId6"/>
    <p:sldLayoutId id="2147484209" r:id="rId7"/>
    <p:sldLayoutId id="2147484210" r:id="rId8"/>
    <p:sldLayoutId id="2147484211" r:id="rId9"/>
    <p:sldLayoutId id="2147484212" r:id="rId10"/>
    <p:sldLayoutId id="2147484213" r:id="rId11"/>
    <p:sldLayoutId id="2147484215" r:id="rId12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2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73700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7" r:id="rId1"/>
    <p:sldLayoutId id="2147484218" r:id="rId2"/>
    <p:sldLayoutId id="2147484219" r:id="rId3"/>
    <p:sldLayoutId id="2147484220" r:id="rId4"/>
    <p:sldLayoutId id="2147484221" r:id="rId5"/>
    <p:sldLayoutId id="2147484222" r:id="rId6"/>
    <p:sldLayoutId id="2147484223" r:id="rId7"/>
    <p:sldLayoutId id="2147484224" r:id="rId8"/>
    <p:sldLayoutId id="2147484225" r:id="rId9"/>
    <p:sldLayoutId id="2147484226" r:id="rId10"/>
    <p:sldLayoutId id="2147484227" r:id="rId11"/>
    <p:sldLayoutId id="2147484229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7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8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02CD17-68DE-4851-B77B-8CD798E18A62}" type="slidenum">
              <a:rPr lang="ru-RU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/>
          </a:p>
        </p:txBody>
      </p:sp>
      <p:sp>
        <p:nvSpPr>
          <p:cNvPr id="3993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994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9941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278477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1" r:id="rId1"/>
    <p:sldLayoutId id="2147484232" r:id="rId2"/>
    <p:sldLayoutId id="2147484233" r:id="rId3"/>
    <p:sldLayoutId id="2147484234" r:id="rId4"/>
    <p:sldLayoutId id="2147484235" r:id="rId5"/>
    <p:sldLayoutId id="2147484236" r:id="rId6"/>
    <p:sldLayoutId id="2147484237" r:id="rId7"/>
    <p:sldLayoutId id="2147484238" r:id="rId8"/>
    <p:sldLayoutId id="2147484239" r:id="rId9"/>
    <p:sldLayoutId id="2147484240" r:id="rId10"/>
    <p:sldLayoutId id="2147484241" r:id="rId11"/>
    <p:sldLayoutId id="2147484242" r:id="rId12"/>
    <p:sldLayoutId id="2147484243" r:id="rId13"/>
    <p:sldLayoutId id="2147484244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35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71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07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4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53" indent="-1457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505" indent="-14317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138">
          <a:solidFill>
            <a:schemeClr val="tx1"/>
          </a:solidFill>
          <a:latin typeface="+mn-lt"/>
        </a:defRPr>
      </a:lvl2pPr>
      <a:lvl3pPr marL="942876" indent="-216694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1788">
          <a:solidFill>
            <a:schemeClr val="tx1"/>
          </a:solidFill>
          <a:latin typeface="+mn-lt"/>
        </a:defRPr>
      </a:lvl3pPr>
      <a:lvl4pPr marL="1351756" indent="-184448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247" indent="-184448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35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6715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071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942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358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714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07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7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785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14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499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856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30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2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6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99839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6" r:id="rId1"/>
    <p:sldLayoutId id="2147484247" r:id="rId2"/>
    <p:sldLayoutId id="2147484248" r:id="rId3"/>
    <p:sldLayoutId id="2147484249" r:id="rId4"/>
    <p:sldLayoutId id="2147484250" r:id="rId5"/>
    <p:sldLayoutId id="2147484251" r:id="rId6"/>
    <p:sldLayoutId id="2147484252" r:id="rId7"/>
    <p:sldLayoutId id="2147484253" r:id="rId8"/>
    <p:sldLayoutId id="2147484254" r:id="rId9"/>
    <p:sldLayoutId id="2147484255" r:id="rId10"/>
    <p:sldLayoutId id="2147484256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30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2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6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97078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58" r:id="rId1"/>
    <p:sldLayoutId id="2147484259" r:id="rId2"/>
    <p:sldLayoutId id="2147484260" r:id="rId3"/>
    <p:sldLayoutId id="2147484261" r:id="rId4"/>
    <p:sldLayoutId id="2147484262" r:id="rId5"/>
    <p:sldLayoutId id="2147484263" r:id="rId6"/>
    <p:sldLayoutId id="2147484264" r:id="rId7"/>
    <p:sldLayoutId id="2147484265" r:id="rId8"/>
    <p:sldLayoutId id="2147484266" r:id="rId9"/>
    <p:sldLayoutId id="2147484267" r:id="rId10"/>
    <p:sldLayoutId id="2147484268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30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 eaLnBrk="1" hangingPunct="1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0968D513-E4E1-4820-9F3C-68456B81DBCC}" type="slidenum">
              <a:rPr lang="ru-RU" altLang="ru-RU" smtClean="0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 smtClean="0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2" y="1125538"/>
            <a:ext cx="9126538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3" y="0"/>
            <a:ext cx="8267700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 userDrawn="1"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516" y="106363"/>
            <a:ext cx="962025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440569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70" r:id="rId1"/>
    <p:sldLayoutId id="2147484271" r:id="rId2"/>
    <p:sldLayoutId id="2147484272" r:id="rId3"/>
    <p:sldLayoutId id="2147484273" r:id="rId4"/>
    <p:sldLayoutId id="2147484274" r:id="rId5"/>
    <p:sldLayoutId id="2147484275" r:id="rId6"/>
    <p:sldLayoutId id="2147484276" r:id="rId7"/>
    <p:sldLayoutId id="2147484277" r:id="rId8"/>
    <p:sldLayoutId id="2147484278" r:id="rId9"/>
    <p:sldLayoutId id="2147484279" r:id="rId10"/>
    <p:sldLayoutId id="2147484280" r:id="rId11"/>
  </p:sldLayoutIdLst>
  <p:transition/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2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672370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82" r:id="rId1"/>
    <p:sldLayoutId id="2147484283" r:id="rId2"/>
    <p:sldLayoutId id="2147484284" r:id="rId3"/>
    <p:sldLayoutId id="2147484285" r:id="rId4"/>
    <p:sldLayoutId id="2147484286" r:id="rId5"/>
    <p:sldLayoutId id="2147484287" r:id="rId6"/>
    <p:sldLayoutId id="2147484288" r:id="rId7"/>
    <p:sldLayoutId id="2147484289" r:id="rId8"/>
    <p:sldLayoutId id="2147484290" r:id="rId9"/>
    <p:sldLayoutId id="2147484291" r:id="rId10"/>
    <p:sldLayoutId id="2147484292" r:id="rId11"/>
    <p:sldLayoutId id="2147484293" r:id="rId12"/>
    <p:sldLayoutId id="2147484294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6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D6E84559-0F78-4DE5-B871-9BFDF32992BF}" type="slidenum">
              <a:rPr lang="ru-RU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smtClean="0"/>
          </a:p>
        </p:txBody>
      </p:sp>
      <p:sp>
        <p:nvSpPr>
          <p:cNvPr id="3993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39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994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39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9941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426102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96" r:id="rId1"/>
    <p:sldLayoutId id="2147484297" r:id="rId2"/>
    <p:sldLayoutId id="2147484298" r:id="rId3"/>
    <p:sldLayoutId id="2147484299" r:id="rId4"/>
    <p:sldLayoutId id="2147484300" r:id="rId5"/>
    <p:sldLayoutId id="2147484301" r:id="rId6"/>
    <p:sldLayoutId id="2147484302" r:id="rId7"/>
    <p:sldLayoutId id="2147484303" r:id="rId8"/>
    <p:sldLayoutId id="2147484304" r:id="rId9"/>
    <p:sldLayoutId id="2147484305" r:id="rId10"/>
    <p:sldLayoutId id="2147484306" r:id="rId11"/>
    <p:sldLayoutId id="2147484307" r:id="rId12"/>
    <p:sldLayoutId id="2147484308" r:id="rId13"/>
    <p:sldLayoutId id="2147484309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5pPr>
      <a:lvl6pPr marL="45705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6pPr>
      <a:lvl7pPr marL="914109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7pPr>
      <a:lvl8pPr marL="137116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8pPr>
      <a:lvl9pPr marL="182821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pitchFamily="34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400">
          <a:solidFill>
            <a:schemeClr val="tx1"/>
          </a:solidFill>
          <a:latin typeface="+mn-lt"/>
        </a:defRPr>
      </a:lvl2pPr>
      <a:lvl3pPr marL="1160463" indent="-266700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2200">
          <a:solidFill>
            <a:schemeClr val="tx1"/>
          </a:solidFill>
          <a:latin typeface="+mn-lt"/>
        </a:defRPr>
      </a:lvl3pPr>
      <a:lvl4pPr marL="1663700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71688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29671" indent="-22852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86726" indent="-22852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43780" indent="-22852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900835" indent="-228527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56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09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65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1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274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2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383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438" algn="l" defTabSz="91410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1787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EFE7B6E9-2AB7-4074-BD37-9AA6743645A2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338146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  <p:sldLayoutId id="2147483723" r:id="rId12"/>
    <p:sldLayoutId id="2147483724" r:id="rId13"/>
    <p:sldLayoutId id="2147483725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42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84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27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6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48" indent="-14574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495" indent="-143169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137">
          <a:solidFill>
            <a:schemeClr val="tx1"/>
          </a:solidFill>
          <a:latin typeface="+mn-lt"/>
        </a:defRPr>
      </a:lvl2pPr>
      <a:lvl3pPr marL="942847" indent="-216687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1787">
          <a:solidFill>
            <a:schemeClr val="tx1"/>
          </a:solidFill>
          <a:latin typeface="+mn-lt"/>
        </a:defRPr>
      </a:lvl3pPr>
      <a:lvl4pPr marL="1351715" indent="-18444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195" indent="-18444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730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7154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579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70003" indent="-18571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2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848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27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697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122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545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9970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393" algn="l" defTabSz="742848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1" y="6448444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959362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11" r:id="rId1"/>
    <p:sldLayoutId id="2147484312" r:id="rId2"/>
    <p:sldLayoutId id="2147484313" r:id="rId3"/>
    <p:sldLayoutId id="2147484314" r:id="rId4"/>
    <p:sldLayoutId id="2147484315" r:id="rId5"/>
    <p:sldLayoutId id="2147484316" r:id="rId6"/>
    <p:sldLayoutId id="2147484317" r:id="rId7"/>
    <p:sldLayoutId id="2147484318" r:id="rId8"/>
    <p:sldLayoutId id="2147484319" r:id="rId9"/>
    <p:sldLayoutId id="2147484320" r:id="rId10"/>
    <p:sldLayoutId id="2147484321" r:id="rId11"/>
    <p:sldLayoutId id="2147484322" r:id="rId12"/>
    <p:sldLayoutId id="2147484323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1" y="6448444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007920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25" r:id="rId1"/>
    <p:sldLayoutId id="2147484326" r:id="rId2"/>
    <p:sldLayoutId id="2147484327" r:id="rId3"/>
    <p:sldLayoutId id="2147484328" r:id="rId4"/>
    <p:sldLayoutId id="2147484329" r:id="rId5"/>
    <p:sldLayoutId id="2147484330" r:id="rId6"/>
    <p:sldLayoutId id="2147484331" r:id="rId7"/>
    <p:sldLayoutId id="2147484332" r:id="rId8"/>
    <p:sldLayoutId id="2147484333" r:id="rId9"/>
    <p:sldLayoutId id="2147484334" r:id="rId10"/>
    <p:sldLayoutId id="2147484335" r:id="rId11"/>
    <p:sldLayoutId id="2147484336" r:id="rId12"/>
    <p:sldLayoutId id="2147484337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1" y="6448444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125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  <p:sldLayoutId id="2147484343" r:id="rId5"/>
    <p:sldLayoutId id="2147484344" r:id="rId6"/>
    <p:sldLayoutId id="2147484345" r:id="rId7"/>
    <p:sldLayoutId id="2147484346" r:id="rId8"/>
    <p:sldLayoutId id="2147484347" r:id="rId9"/>
    <p:sldLayoutId id="2147484348" r:id="rId10"/>
    <p:sldLayoutId id="2147484349" r:id="rId11"/>
    <p:sldLayoutId id="2147484350" r:id="rId12"/>
    <p:sldLayoutId id="2147484351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1" y="6448444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741710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3" r:id="rId1"/>
    <p:sldLayoutId id="2147484354" r:id="rId2"/>
    <p:sldLayoutId id="2147484355" r:id="rId3"/>
    <p:sldLayoutId id="2147484356" r:id="rId4"/>
    <p:sldLayoutId id="2147484357" r:id="rId5"/>
    <p:sldLayoutId id="2147484358" r:id="rId6"/>
    <p:sldLayoutId id="2147484359" r:id="rId7"/>
    <p:sldLayoutId id="2147484360" r:id="rId8"/>
    <p:sldLayoutId id="2147484361" r:id="rId9"/>
    <p:sldLayoutId id="2147484362" r:id="rId10"/>
    <p:sldLayoutId id="2147484363" r:id="rId11"/>
    <p:sldLayoutId id="2147484364" r:id="rId12"/>
    <p:sldLayoutId id="2147484365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56598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68" r:id="rId1"/>
    <p:sldLayoutId id="2147484369" r:id="rId2"/>
    <p:sldLayoutId id="2147484370" r:id="rId3"/>
    <p:sldLayoutId id="2147484371" r:id="rId4"/>
    <p:sldLayoutId id="2147484372" r:id="rId5"/>
    <p:sldLayoutId id="2147484373" r:id="rId6"/>
    <p:sldLayoutId id="2147484374" r:id="rId7"/>
    <p:sldLayoutId id="2147484375" r:id="rId8"/>
    <p:sldLayoutId id="2147484376" r:id="rId9"/>
    <p:sldLayoutId id="2147484377" r:id="rId10"/>
    <p:sldLayoutId id="2147484378" r:id="rId11"/>
    <p:sldLayoutId id="2147484379" r:id="rId12"/>
    <p:sldLayoutId id="2147484380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3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8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02CD17-68DE-4851-B77B-8CD798E18A62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cs typeface="Arial" charset="0"/>
            </a:endParaRPr>
          </a:p>
        </p:txBody>
      </p:sp>
      <p:sp>
        <p:nvSpPr>
          <p:cNvPr id="3993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994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9941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1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2384347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2" r:id="rId1"/>
    <p:sldLayoutId id="2147484383" r:id="rId2"/>
    <p:sldLayoutId id="2147484384" r:id="rId3"/>
    <p:sldLayoutId id="2147484385" r:id="rId4"/>
    <p:sldLayoutId id="2147484386" r:id="rId5"/>
    <p:sldLayoutId id="2147484387" r:id="rId6"/>
    <p:sldLayoutId id="2147484388" r:id="rId7"/>
    <p:sldLayoutId id="2147484389" r:id="rId8"/>
    <p:sldLayoutId id="2147484390" r:id="rId9"/>
    <p:sldLayoutId id="2147484391" r:id="rId10"/>
    <p:sldLayoutId id="2147484392" r:id="rId11"/>
    <p:sldLayoutId id="2147484393" r:id="rId12"/>
    <p:sldLayoutId id="2147484394" r:id="rId13"/>
    <p:sldLayoutId id="2147484395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35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71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07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4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53" indent="-1457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505" indent="-14317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138">
          <a:solidFill>
            <a:schemeClr val="tx1"/>
          </a:solidFill>
          <a:latin typeface="+mn-lt"/>
        </a:defRPr>
      </a:lvl2pPr>
      <a:lvl3pPr marL="942876" indent="-216694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1788">
          <a:solidFill>
            <a:schemeClr val="tx1"/>
          </a:solidFill>
          <a:latin typeface="+mn-lt"/>
        </a:defRPr>
      </a:lvl3pPr>
      <a:lvl4pPr marL="1351756" indent="-184448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247" indent="-184448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35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6715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071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942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358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714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07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7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785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14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499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856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3843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97" r:id="rId1"/>
    <p:sldLayoutId id="2147484398" r:id="rId2"/>
    <p:sldLayoutId id="2147484399" r:id="rId3"/>
    <p:sldLayoutId id="2147484400" r:id="rId4"/>
    <p:sldLayoutId id="2147484401" r:id="rId5"/>
    <p:sldLayoutId id="2147484402" r:id="rId6"/>
    <p:sldLayoutId id="2147484403" r:id="rId7"/>
    <p:sldLayoutId id="2147484404" r:id="rId8"/>
    <p:sldLayoutId id="2147484405" r:id="rId9"/>
    <p:sldLayoutId id="2147484406" r:id="rId10"/>
    <p:sldLayoutId id="2147484407" r:id="rId11"/>
    <p:sldLayoutId id="2147484408" r:id="rId12"/>
    <p:sldLayoutId id="2147484409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6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81" y="6448435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8" b="1">
                <a:solidFill>
                  <a:srgbClr val="0032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6A02CD17-68DE-4851-B77B-8CD798E18A62}" type="slidenum">
              <a:rPr lang="ru-RU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>
              <a:cs typeface="Arial" charset="0"/>
            </a:endParaRPr>
          </a:p>
        </p:txBody>
      </p:sp>
      <p:sp>
        <p:nvSpPr>
          <p:cNvPr id="3993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3994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39941" name="Picture 6" descr="ujkm,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1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76806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1" r:id="rId1"/>
    <p:sldLayoutId id="2147484412" r:id="rId2"/>
    <p:sldLayoutId id="2147484413" r:id="rId3"/>
    <p:sldLayoutId id="2147484414" r:id="rId4"/>
    <p:sldLayoutId id="2147484415" r:id="rId5"/>
    <p:sldLayoutId id="2147484416" r:id="rId6"/>
    <p:sldLayoutId id="2147484417" r:id="rId7"/>
    <p:sldLayoutId id="2147484418" r:id="rId8"/>
    <p:sldLayoutId id="2147484419" r:id="rId9"/>
    <p:sldLayoutId id="2147484420" r:id="rId10"/>
    <p:sldLayoutId id="2147484421" r:id="rId11"/>
    <p:sldLayoutId id="2147484422" r:id="rId12"/>
    <p:sldLayoutId id="2147484423" r:id="rId13"/>
    <p:sldLayoutId id="2147484424" r:id="rId14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358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71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072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4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5753" indent="-145753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8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1505" indent="-14317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9"/>
        </a:buBlip>
        <a:defRPr sz="1138">
          <a:solidFill>
            <a:schemeClr val="tx1"/>
          </a:solidFill>
          <a:latin typeface="+mn-lt"/>
        </a:defRPr>
      </a:lvl2pPr>
      <a:lvl3pPr marL="942876" indent="-216694" algn="l" rtl="0" eaLnBrk="0" fontAlgn="base" hangingPunct="0">
        <a:spcBef>
          <a:spcPct val="0"/>
        </a:spcBef>
        <a:spcAft>
          <a:spcPct val="30000"/>
        </a:spcAft>
        <a:buBlip>
          <a:blip r:embed="rId19"/>
        </a:buBlip>
        <a:defRPr sz="1788">
          <a:solidFill>
            <a:schemeClr val="tx1"/>
          </a:solidFill>
          <a:latin typeface="+mn-lt"/>
        </a:defRPr>
      </a:lvl3pPr>
      <a:lvl4pPr marL="1351756" indent="-184448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3247" indent="-184448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35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6715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071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69428" indent="-185678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1pPr>
      <a:lvl2pPr marL="371358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2pPr>
      <a:lvl3pPr marL="742714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3pPr>
      <a:lvl4pPr marL="111407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4pPr>
      <a:lvl5pPr marL="1485427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5pPr>
      <a:lvl6pPr marL="1856785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6pPr>
      <a:lvl7pPr marL="2228142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7pPr>
      <a:lvl8pPr marL="2599499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8pPr>
      <a:lvl9pPr marL="2970856" algn="l" defTabSz="742714" rtl="0" eaLnBrk="1" latinLnBrk="0" hangingPunct="1">
        <a:defRPr sz="146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407303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6" r:id="rId1"/>
    <p:sldLayoutId id="2147484427" r:id="rId2"/>
    <p:sldLayoutId id="2147484428" r:id="rId3"/>
    <p:sldLayoutId id="2147484429" r:id="rId4"/>
    <p:sldLayoutId id="2147484430" r:id="rId5"/>
    <p:sldLayoutId id="2147484431" r:id="rId6"/>
    <p:sldLayoutId id="2147484432" r:id="rId7"/>
    <p:sldLayoutId id="2147484433" r:id="rId8"/>
    <p:sldLayoutId id="2147484434" r:id="rId9"/>
    <p:sldLayoutId id="2147484435" r:id="rId10"/>
    <p:sldLayoutId id="2147484436" r:id="rId11"/>
    <p:sldLayoutId id="2147484437" r:id="rId12"/>
    <p:sldLayoutId id="2147484438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98911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40" r:id="rId1"/>
    <p:sldLayoutId id="2147484441" r:id="rId2"/>
    <p:sldLayoutId id="2147484442" r:id="rId3"/>
    <p:sldLayoutId id="2147484443" r:id="rId4"/>
    <p:sldLayoutId id="2147484444" r:id="rId5"/>
    <p:sldLayoutId id="2147484445" r:id="rId6"/>
    <p:sldLayoutId id="2147484446" r:id="rId7"/>
    <p:sldLayoutId id="2147484447" r:id="rId8"/>
    <p:sldLayoutId id="2147484448" r:id="rId9"/>
    <p:sldLayoutId id="2147484449" r:id="rId10"/>
    <p:sldLayoutId id="2147484450" r:id="rId11"/>
    <p:sldLayoutId id="2147484451" r:id="rId12"/>
    <p:sldLayoutId id="2147484452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7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8563" name="Rectangle 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77" y="6448428"/>
            <a:ext cx="679317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spcAft>
                <a:spcPct val="0"/>
              </a:spcAft>
              <a:buFontTx/>
              <a:buNone/>
              <a:defRPr sz="1787" b="1">
                <a:solidFill>
                  <a:schemeClr val="hlink"/>
                </a:solidFill>
                <a:latin typeface="+mn-lt"/>
                <a:cs typeface="+mn-cs"/>
              </a:defRPr>
            </a:lvl1pPr>
          </a:lstStyle>
          <a:p>
            <a:pPr fontAlgn="base">
              <a:spcBef>
                <a:spcPct val="0"/>
              </a:spcBef>
              <a:defRPr/>
            </a:pPr>
            <a:fld id="{355292CF-8EF0-4300-95F1-3CD6CC55D917}" type="slidenum">
              <a:rPr 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defRPr/>
              </a:pPr>
              <a:t>‹#›</a:t>
            </a:fld>
            <a:endParaRPr lang="ru-RU" dirty="0">
              <a:solidFill>
                <a:srgbClr val="003274"/>
              </a:solidFill>
            </a:endParaRPr>
          </a:p>
        </p:txBody>
      </p:sp>
      <p:sp>
        <p:nvSpPr>
          <p:cNvPr id="102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38"/>
            <a:ext cx="9126934" cy="5148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Picture 6" descr="ujkm,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10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537575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  <p:sldLayoutId id="2147483738" r:id="rId12"/>
    <p:sldLayoutId id="2147483739" r:id="rId13"/>
    <p:sldLayoutId id="2147483740" r:id="rId14"/>
    <p:sldLayoutId id="2147483741" r:id="rId15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pitchFamily="34" charset="0"/>
        </a:defRPr>
      </a:lvl9pPr>
    </p:titleStyle>
    <p:bodyStyle>
      <a:lvl1pPr marL="147037" indent="-147037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9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786" indent="-144458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20"/>
        </a:buBlip>
        <a:defRPr sz="1137">
          <a:solidFill>
            <a:schemeClr val="tx1"/>
          </a:solidFill>
          <a:latin typeface="+mn-lt"/>
        </a:defRPr>
      </a:lvl2pPr>
      <a:lvl3pPr marL="944137" indent="-217977" algn="l" rtl="0" eaLnBrk="0" fontAlgn="base" hangingPunct="0">
        <a:spcBef>
          <a:spcPct val="0"/>
        </a:spcBef>
        <a:spcAft>
          <a:spcPct val="30000"/>
        </a:spcAft>
        <a:buBlip>
          <a:blip r:embed="rId20"/>
        </a:buBlip>
        <a:defRPr sz="1787">
          <a:solidFill>
            <a:schemeClr val="tx1"/>
          </a:solidFill>
          <a:latin typeface="+mn-lt"/>
        </a:defRPr>
      </a:lvl3pPr>
      <a:lvl4pPr marL="1353005" indent="-185732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</a:defRPr>
      </a:lvl4pPr>
      <a:lvl5pPr marL="1684484" indent="-185732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4217053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  <p:sldLayoutId id="2147484455" r:id="rId2"/>
    <p:sldLayoutId id="2147484456" r:id="rId3"/>
    <p:sldLayoutId id="2147484457" r:id="rId4"/>
    <p:sldLayoutId id="2147484458" r:id="rId5"/>
    <p:sldLayoutId id="2147484459" r:id="rId6"/>
    <p:sldLayoutId id="2147484460" r:id="rId7"/>
    <p:sldLayoutId id="2147484461" r:id="rId8"/>
    <p:sldLayoutId id="2147484462" r:id="rId9"/>
    <p:sldLayoutId id="2147484463" r:id="rId10"/>
    <p:sldLayoutId id="2147484464" r:id="rId11"/>
    <p:sldLayoutId id="2147484465" r:id="rId12"/>
    <p:sldLayoutId id="2147484466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4" y="644845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1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1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4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15448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8" r:id="rId1"/>
    <p:sldLayoutId id="2147484469" r:id="rId2"/>
    <p:sldLayoutId id="2147484470" r:id="rId3"/>
    <p:sldLayoutId id="2147484471" r:id="rId4"/>
    <p:sldLayoutId id="2147484472" r:id="rId5"/>
    <p:sldLayoutId id="2147484473" r:id="rId6"/>
    <p:sldLayoutId id="2147484474" r:id="rId7"/>
    <p:sldLayoutId id="2147484475" r:id="rId8"/>
    <p:sldLayoutId id="2147484476" r:id="rId9"/>
    <p:sldLayoutId id="2147484477" r:id="rId10"/>
    <p:sldLayoutId id="2147484478" r:id="rId11"/>
    <p:sldLayoutId id="2147484479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6624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3238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9857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647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746" indent="-180746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9906" indent="-177574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0572" indent="-267947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3171" indent="-228306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0640" indent="-228306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7259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3877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0496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7115" indent="-228306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624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238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857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476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3095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71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6333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951" algn="l" defTabSz="91323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152727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3" r:id="rId1"/>
    <p:sldLayoutId id="2147483744" r:id="rId2"/>
    <p:sldLayoutId id="2147483745" r:id="rId3"/>
    <p:sldLayoutId id="2147483746" r:id="rId4"/>
    <p:sldLayoutId id="2147483747" r:id="rId5"/>
    <p:sldLayoutId id="2147483748" r:id="rId6"/>
    <p:sldLayoutId id="2147483749" r:id="rId7"/>
    <p:sldLayoutId id="2147483750" r:id="rId8"/>
    <p:sldLayoutId id="2147483751" r:id="rId9"/>
    <p:sldLayoutId id="2147483752" r:id="rId10"/>
    <p:sldLayoutId id="2147483753" r:id="rId11"/>
    <p:sldLayoutId id="2147483754" r:id="rId12"/>
    <p:sldLayoutId id="2147483755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46119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7" r:id="rId1"/>
    <p:sldLayoutId id="2147483758" r:id="rId2"/>
    <p:sldLayoutId id="2147483759" r:id="rId3"/>
    <p:sldLayoutId id="2147483760" r:id="rId4"/>
    <p:sldLayoutId id="2147483761" r:id="rId5"/>
    <p:sldLayoutId id="2147483762" r:id="rId6"/>
    <p:sldLayoutId id="2147483763" r:id="rId7"/>
    <p:sldLayoutId id="2147483764" r:id="rId8"/>
    <p:sldLayoutId id="2147483765" r:id="rId9"/>
    <p:sldLayoutId id="2147483766" r:id="rId10"/>
    <p:sldLayoutId id="2147483767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090" y="6448440"/>
            <a:ext cx="679317" cy="377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87" b="1">
                <a:solidFill>
                  <a:schemeClr val="hlink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204D735E-41D8-4774-ADEA-1218D38F2738}" type="slidenum">
              <a:rPr lang="ru-RU" altLang="ru-RU">
                <a:solidFill>
                  <a:srgbClr val="003274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altLang="ru-RU">
              <a:solidFill>
                <a:srgbClr val="003274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7340" y="1125548"/>
            <a:ext cx="9126934" cy="5148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7340" y="0"/>
            <a:ext cx="8268758" cy="962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chemeClr val="accent2">
                      <a:alpha val="50000"/>
                    </a:schemeClr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029" name="navigation8" descr="ujkm,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72923" y="106363"/>
            <a:ext cx="961363" cy="785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055337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5pPr>
      <a:lvl6pPr marL="37099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198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2975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39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46852" indent="-146852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7"/>
        </a:buBlip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415" indent="-1442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8"/>
        </a:buBlip>
        <a:defRPr sz="1137">
          <a:solidFill>
            <a:schemeClr val="tx1"/>
          </a:solidFill>
          <a:latin typeface="+mn-lt"/>
          <a:cs typeface="+mn-cs"/>
        </a:defRPr>
      </a:lvl2pPr>
      <a:lvl3pPr marL="942936" indent="-217700" algn="l" rtl="0" eaLnBrk="0" fontAlgn="base" hangingPunct="0">
        <a:spcBef>
          <a:spcPct val="0"/>
        </a:spcBef>
        <a:spcAft>
          <a:spcPct val="30000"/>
        </a:spcAft>
        <a:buBlip>
          <a:blip r:embed="rId18"/>
        </a:buBlip>
        <a:defRPr sz="1787">
          <a:solidFill>
            <a:schemeClr val="tx1"/>
          </a:solidFill>
          <a:latin typeface="+mn-lt"/>
          <a:cs typeface="+mn-cs"/>
        </a:defRPr>
      </a:lvl3pPr>
      <a:lvl4pPr marL="1351285" indent="-185493" algn="l" rtl="0" eaLnBrk="0" fontAlgn="base" hangingPunct="0">
        <a:spcBef>
          <a:spcPct val="20000"/>
        </a:spcBef>
        <a:spcAft>
          <a:spcPct val="0"/>
        </a:spcAft>
        <a:buChar char="–"/>
        <a:defRPr sz="1625">
          <a:solidFill>
            <a:schemeClr val="tx1"/>
          </a:solidFill>
          <a:latin typeface="+mn-lt"/>
          <a:cs typeface="+mn-cs"/>
        </a:defRPr>
      </a:lvl4pPr>
      <a:lvl5pPr marL="1682343" indent="-185493" algn="l" rtl="0" eaLnBrk="0" fontAlgn="base" hangingPunct="0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5pPr>
      <a:lvl6pPr marL="2053334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4326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5317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66308" indent="-18549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1pPr>
      <a:lvl2pPr marL="37099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2pPr>
      <a:lvl3pPr marL="741984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3pPr>
      <a:lvl4pPr marL="1112975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4pPr>
      <a:lvl5pPr marL="1483966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5pPr>
      <a:lvl6pPr marL="1854957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6pPr>
      <a:lvl7pPr marL="2225949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7pPr>
      <a:lvl8pPr marL="259694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8pPr>
      <a:lvl9pPr marL="2967931" algn="l" defTabSz="741984" rtl="0" eaLnBrk="1" latinLnBrk="0" hangingPunct="1">
        <a:defRPr sz="14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Развитие системы требований к поставщикам</a:t>
            </a:r>
            <a:endParaRPr lang="ru-RU" sz="1800" dirty="0"/>
          </a:p>
        </p:txBody>
      </p:sp>
      <p:grpSp>
        <p:nvGrpSpPr>
          <p:cNvPr id="4" name="Группа 3"/>
          <p:cNvGrpSpPr/>
          <p:nvPr/>
        </p:nvGrpSpPr>
        <p:grpSpPr>
          <a:xfrm>
            <a:off x="0" y="1306013"/>
            <a:ext cx="9715059" cy="2246391"/>
            <a:chOff x="-291985" y="3927832"/>
            <a:chExt cx="11013269" cy="2541376"/>
          </a:xfrm>
        </p:grpSpPr>
        <p:sp>
          <p:nvSpPr>
            <p:cNvPr id="5" name="Овал 4"/>
            <p:cNvSpPr/>
            <p:nvPr/>
          </p:nvSpPr>
          <p:spPr>
            <a:xfrm>
              <a:off x="481845" y="5515561"/>
              <a:ext cx="527378" cy="472636"/>
            </a:xfrm>
            <a:prstGeom prst="ellipse">
              <a:avLst/>
            </a:prstGeom>
            <a:pattFill prst="pct20">
              <a:fgClr>
                <a:schemeClr val="accent1"/>
              </a:fgClr>
              <a:bgClr>
                <a:schemeClr val="bg1"/>
              </a:bgClr>
            </a:pattFill>
            <a:ln w="9525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6" name="Овал 5"/>
            <p:cNvSpPr/>
            <p:nvPr/>
          </p:nvSpPr>
          <p:spPr>
            <a:xfrm>
              <a:off x="6163041" y="4221810"/>
              <a:ext cx="527378" cy="472636"/>
            </a:xfrm>
            <a:prstGeom prst="ellipse">
              <a:avLst/>
            </a:prstGeom>
            <a:pattFill prst="pct20">
              <a:fgClr>
                <a:schemeClr val="accent1"/>
              </a:fgClr>
              <a:bgClr>
                <a:schemeClr val="bg1"/>
              </a:bgClr>
            </a:pattFill>
            <a:ln w="9525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7" name="Овал 6"/>
            <p:cNvSpPr/>
            <p:nvPr/>
          </p:nvSpPr>
          <p:spPr>
            <a:xfrm>
              <a:off x="4310120" y="4599832"/>
              <a:ext cx="527378" cy="472636"/>
            </a:xfrm>
            <a:prstGeom prst="ellipse">
              <a:avLst/>
            </a:prstGeom>
            <a:pattFill prst="pct20">
              <a:fgClr>
                <a:schemeClr val="accent1"/>
              </a:fgClr>
              <a:bgClr>
                <a:schemeClr val="bg1"/>
              </a:bgClr>
            </a:pattFill>
            <a:ln w="9525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" name="Овал 7"/>
            <p:cNvSpPr/>
            <p:nvPr/>
          </p:nvSpPr>
          <p:spPr>
            <a:xfrm>
              <a:off x="2182466" y="5152076"/>
              <a:ext cx="527378" cy="472636"/>
            </a:xfrm>
            <a:prstGeom prst="ellipse">
              <a:avLst/>
            </a:prstGeom>
            <a:pattFill prst="pct20">
              <a:fgClr>
                <a:schemeClr val="accent1"/>
              </a:fgClr>
              <a:bgClr>
                <a:schemeClr val="bg1"/>
              </a:bgClr>
            </a:pattFill>
            <a:ln w="9525">
              <a:solidFill>
                <a:schemeClr val="accent1">
                  <a:lumMod val="75000"/>
                  <a:alpha val="88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TextBox 46"/>
            <p:cNvSpPr txBox="1">
              <a:spLocks noChangeArrowheads="1"/>
            </p:cNvSpPr>
            <p:nvPr/>
          </p:nvSpPr>
          <p:spPr bwMode="auto">
            <a:xfrm>
              <a:off x="8250133" y="4069774"/>
              <a:ext cx="1963119" cy="415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050" b="1" dirty="0" smtClean="0">
                  <a:solidFill>
                    <a:srgbClr val="009900"/>
                  </a:solidFill>
                </a:rPr>
                <a:t>Исполнения договоров закупки оборудования, %</a:t>
              </a:r>
              <a:endParaRPr lang="ru-RU" altLang="ru-RU" sz="1050" b="1" dirty="0">
                <a:solidFill>
                  <a:srgbClr val="009900"/>
                </a:solidFill>
              </a:endParaRPr>
            </a:p>
          </p:txBody>
        </p:sp>
        <p:sp>
          <p:nvSpPr>
            <p:cNvPr id="10" name="Прямоугольник 3"/>
            <p:cNvSpPr>
              <a:spLocks noChangeArrowheads="1"/>
            </p:cNvSpPr>
            <p:nvPr/>
          </p:nvSpPr>
          <p:spPr bwMode="auto">
            <a:xfrm>
              <a:off x="-281783" y="4877316"/>
              <a:ext cx="933395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15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1" name="Прямоугольник 3"/>
            <p:cNvSpPr>
              <a:spLocks noChangeArrowheads="1"/>
            </p:cNvSpPr>
            <p:nvPr/>
          </p:nvSpPr>
          <p:spPr bwMode="auto">
            <a:xfrm>
              <a:off x="-290653" y="4485264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20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2" name="Прямоугольник 3"/>
            <p:cNvSpPr>
              <a:spLocks noChangeArrowheads="1"/>
            </p:cNvSpPr>
            <p:nvPr/>
          </p:nvSpPr>
          <p:spPr bwMode="auto">
            <a:xfrm>
              <a:off x="-291985" y="4150360"/>
              <a:ext cx="931819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25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3" name="Прямоугольник 3"/>
            <p:cNvSpPr>
              <a:spLocks noChangeArrowheads="1"/>
            </p:cNvSpPr>
            <p:nvPr/>
          </p:nvSpPr>
          <p:spPr bwMode="auto">
            <a:xfrm>
              <a:off x="-98742" y="5626944"/>
              <a:ext cx="674204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5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4" name="Прямоугольник 3"/>
            <p:cNvSpPr>
              <a:spLocks noChangeArrowheads="1"/>
            </p:cNvSpPr>
            <p:nvPr/>
          </p:nvSpPr>
          <p:spPr bwMode="auto">
            <a:xfrm>
              <a:off x="945402" y="5759979"/>
              <a:ext cx="668062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9900"/>
                  </a:solidFill>
                </a:rPr>
                <a:t>75%</a:t>
              </a:r>
              <a:endParaRPr lang="ru-RU" altLang="ru-RU" sz="1400" b="1" dirty="0">
                <a:solidFill>
                  <a:srgbClr val="009900"/>
                </a:solidFill>
              </a:endParaRPr>
            </a:p>
          </p:txBody>
        </p:sp>
        <p:sp>
          <p:nvSpPr>
            <p:cNvPr id="15" name="Прямоугольник 3"/>
            <p:cNvSpPr>
              <a:spLocks noChangeArrowheads="1"/>
            </p:cNvSpPr>
            <p:nvPr/>
          </p:nvSpPr>
          <p:spPr bwMode="auto">
            <a:xfrm>
              <a:off x="4787004" y="4797755"/>
              <a:ext cx="670632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9900"/>
                  </a:solidFill>
                </a:rPr>
                <a:t>88%</a:t>
              </a:r>
              <a:endParaRPr lang="ru-RU" altLang="ru-RU" sz="1400" b="1" dirty="0">
                <a:solidFill>
                  <a:srgbClr val="009900"/>
                </a:solidFill>
              </a:endParaRPr>
            </a:p>
          </p:txBody>
        </p:sp>
        <p:sp>
          <p:nvSpPr>
            <p:cNvPr id="16" name="Прямоугольник 3"/>
            <p:cNvSpPr>
              <a:spLocks noChangeArrowheads="1"/>
            </p:cNvSpPr>
            <p:nvPr/>
          </p:nvSpPr>
          <p:spPr bwMode="auto">
            <a:xfrm>
              <a:off x="2641626" y="5398969"/>
              <a:ext cx="672279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/>
              <a:r>
                <a:rPr lang="ru-RU" altLang="ru-RU" sz="1400" b="1" dirty="0">
                  <a:solidFill>
                    <a:srgbClr val="009900"/>
                  </a:solidFill>
                </a:rPr>
                <a:t>83%</a:t>
              </a:r>
            </a:p>
          </p:txBody>
        </p:sp>
        <p:sp>
          <p:nvSpPr>
            <p:cNvPr id="17" name="TextBox 46"/>
            <p:cNvSpPr txBox="1">
              <a:spLocks noChangeArrowheads="1"/>
            </p:cNvSpPr>
            <p:nvPr/>
          </p:nvSpPr>
          <p:spPr bwMode="auto">
            <a:xfrm>
              <a:off x="481845" y="6148959"/>
              <a:ext cx="783862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2010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18" name="TextBox 46"/>
            <p:cNvSpPr txBox="1">
              <a:spLocks noChangeArrowheads="1"/>
            </p:cNvSpPr>
            <p:nvPr/>
          </p:nvSpPr>
          <p:spPr bwMode="auto">
            <a:xfrm>
              <a:off x="2141647" y="6157055"/>
              <a:ext cx="782287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>
                  <a:solidFill>
                    <a:srgbClr val="000000"/>
                  </a:solidFill>
                </a:rPr>
                <a:t>2013</a:t>
              </a:r>
            </a:p>
          </p:txBody>
        </p:sp>
        <p:sp>
          <p:nvSpPr>
            <p:cNvPr id="19" name="TextBox 46"/>
            <p:cNvSpPr txBox="1">
              <a:spLocks noChangeArrowheads="1"/>
            </p:cNvSpPr>
            <p:nvPr/>
          </p:nvSpPr>
          <p:spPr bwMode="auto">
            <a:xfrm>
              <a:off x="4266349" y="6157123"/>
              <a:ext cx="782287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>
                  <a:solidFill>
                    <a:srgbClr val="000000"/>
                  </a:solidFill>
                </a:rPr>
                <a:t>2015</a:t>
              </a:r>
            </a:p>
          </p:txBody>
        </p:sp>
        <p:sp>
          <p:nvSpPr>
            <p:cNvPr id="20" name="TextBox 46"/>
            <p:cNvSpPr txBox="1">
              <a:spLocks noChangeArrowheads="1"/>
            </p:cNvSpPr>
            <p:nvPr/>
          </p:nvSpPr>
          <p:spPr bwMode="auto">
            <a:xfrm>
              <a:off x="8253036" y="4774836"/>
              <a:ext cx="2468248" cy="415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050" b="1" dirty="0" smtClean="0">
                  <a:solidFill>
                    <a:schemeClr val="accent1">
                      <a:lumMod val="75000"/>
                    </a:schemeClr>
                  </a:solidFill>
                </a:rPr>
                <a:t>Количество</a:t>
              </a:r>
              <a:endParaRPr lang="ru-RU" altLang="ru-RU" sz="1050" b="1" dirty="0">
                <a:solidFill>
                  <a:schemeClr val="accent1">
                    <a:lumMod val="75000"/>
                  </a:schemeClr>
                </a:solidFill>
              </a:endParaRPr>
            </a:p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050" b="1" dirty="0">
                  <a:solidFill>
                    <a:schemeClr val="accent1">
                      <a:lumMod val="75000"/>
                    </a:schemeClr>
                  </a:solidFill>
                </a:rPr>
                <a:t>к</a:t>
              </a:r>
              <a:r>
                <a:rPr lang="ru-RU" altLang="ru-RU" sz="1050" b="1" dirty="0" smtClean="0">
                  <a:solidFill>
                    <a:schemeClr val="accent1">
                      <a:lumMod val="75000"/>
                    </a:schemeClr>
                  </a:solidFill>
                </a:rPr>
                <a:t>ритериев отбора , </a:t>
              </a:r>
              <a:r>
                <a:rPr lang="ru-RU" altLang="ru-RU" sz="1050" b="1" dirty="0">
                  <a:solidFill>
                    <a:schemeClr val="accent1">
                      <a:lumMod val="75000"/>
                    </a:schemeClr>
                  </a:solidFill>
                </a:rPr>
                <a:t>шт.</a:t>
              </a:r>
            </a:p>
          </p:txBody>
        </p:sp>
        <p:sp>
          <p:nvSpPr>
            <p:cNvPr id="21" name="Прямоугольник 3"/>
            <p:cNvSpPr>
              <a:spLocks noChangeArrowheads="1"/>
            </p:cNvSpPr>
            <p:nvPr/>
          </p:nvSpPr>
          <p:spPr bwMode="auto">
            <a:xfrm>
              <a:off x="-130423" y="6105392"/>
              <a:ext cx="638732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>
                  <a:solidFill>
                    <a:srgbClr val="000000"/>
                  </a:solidFill>
                </a:rPr>
                <a:t>0</a:t>
              </a:r>
            </a:p>
          </p:txBody>
        </p:sp>
        <p:sp>
          <p:nvSpPr>
            <p:cNvPr id="22" name="Прямоугольник 3"/>
            <p:cNvSpPr>
              <a:spLocks noChangeArrowheads="1"/>
            </p:cNvSpPr>
            <p:nvPr/>
          </p:nvSpPr>
          <p:spPr bwMode="auto">
            <a:xfrm>
              <a:off x="292396" y="5212429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>
                  <a:solidFill>
                    <a:schemeClr val="accent1">
                      <a:lumMod val="75000"/>
                    </a:schemeClr>
                  </a:solidFill>
                  <a:latin typeface="Arial" charset="0"/>
                  <a:cs typeface="Arial" charset="0"/>
                </a:rPr>
                <a:t>5</a:t>
              </a:r>
            </a:p>
          </p:txBody>
        </p:sp>
        <p:sp>
          <p:nvSpPr>
            <p:cNvPr id="23" name="Прямоугольник 3"/>
            <p:cNvSpPr>
              <a:spLocks noChangeArrowheads="1"/>
            </p:cNvSpPr>
            <p:nvPr/>
          </p:nvSpPr>
          <p:spPr bwMode="auto">
            <a:xfrm>
              <a:off x="4127149" y="4298724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>
                  <a:solidFill>
                    <a:schemeClr val="accent1">
                      <a:lumMod val="75000"/>
                    </a:schemeClr>
                  </a:solidFill>
                  <a:latin typeface="Arial" charset="0"/>
                  <a:cs typeface="Arial" charset="0"/>
                </a:rPr>
                <a:t>17</a:t>
              </a:r>
            </a:p>
          </p:txBody>
        </p:sp>
        <p:sp>
          <p:nvSpPr>
            <p:cNvPr id="24" name="Прямоугольник 3"/>
            <p:cNvSpPr>
              <a:spLocks noChangeArrowheads="1"/>
            </p:cNvSpPr>
            <p:nvPr/>
          </p:nvSpPr>
          <p:spPr bwMode="auto">
            <a:xfrm>
              <a:off x="1972920" y="4845961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>
                  <a:solidFill>
                    <a:schemeClr val="accent1">
                      <a:lumMod val="75000"/>
                    </a:schemeClr>
                  </a:solidFill>
                  <a:latin typeface="Arial" charset="0"/>
                  <a:cs typeface="Arial" charset="0"/>
                </a:rPr>
                <a:t>9</a:t>
              </a:r>
            </a:p>
          </p:txBody>
        </p:sp>
        <p:sp>
          <p:nvSpPr>
            <p:cNvPr id="25" name="Прямоугольник 3"/>
            <p:cNvSpPr>
              <a:spLocks noChangeArrowheads="1"/>
            </p:cNvSpPr>
            <p:nvPr/>
          </p:nvSpPr>
          <p:spPr bwMode="auto">
            <a:xfrm>
              <a:off x="6620236" y="4456140"/>
              <a:ext cx="77441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None/>
              </a:pPr>
              <a:r>
                <a:rPr lang="ru-RU" altLang="ru-RU" sz="1400" b="1" dirty="0">
                  <a:solidFill>
                    <a:srgbClr val="009900"/>
                  </a:solidFill>
                </a:rPr>
                <a:t>90,9%</a:t>
              </a:r>
            </a:p>
          </p:txBody>
        </p:sp>
        <p:sp>
          <p:nvSpPr>
            <p:cNvPr id="26" name="Прямоугольник 3"/>
            <p:cNvSpPr>
              <a:spLocks noChangeArrowheads="1"/>
            </p:cNvSpPr>
            <p:nvPr/>
          </p:nvSpPr>
          <p:spPr bwMode="auto">
            <a:xfrm>
              <a:off x="-266161" y="5243468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10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sp>
          <p:nvSpPr>
            <p:cNvPr id="27" name="Прямоугольник 3"/>
            <p:cNvSpPr>
              <a:spLocks noChangeArrowheads="1"/>
            </p:cNvSpPr>
            <p:nvPr/>
          </p:nvSpPr>
          <p:spPr bwMode="auto">
            <a:xfrm>
              <a:off x="5734320" y="3927832"/>
              <a:ext cx="141152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algn="ctr"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chemeClr val="accent1">
                      <a:lumMod val="75000"/>
                    </a:schemeClr>
                  </a:solidFill>
                </a:rPr>
                <a:t>22 + аудит</a:t>
              </a:r>
              <a:endParaRPr lang="ru-RU" altLang="ru-RU" sz="1400" b="1" dirty="0">
                <a:solidFill>
                  <a:schemeClr val="accent1">
                    <a:lumMod val="75000"/>
                  </a:schemeClr>
                </a:solidFill>
              </a:endParaRPr>
            </a:p>
          </p:txBody>
        </p:sp>
        <p:sp>
          <p:nvSpPr>
            <p:cNvPr id="28" name="TextBox 46"/>
            <p:cNvSpPr txBox="1">
              <a:spLocks noChangeArrowheads="1"/>
            </p:cNvSpPr>
            <p:nvPr/>
          </p:nvSpPr>
          <p:spPr bwMode="auto">
            <a:xfrm>
              <a:off x="6112262" y="6161440"/>
              <a:ext cx="78228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400" b="1" dirty="0" smtClean="0">
                  <a:solidFill>
                    <a:srgbClr val="000000"/>
                  </a:solidFill>
                </a:rPr>
                <a:t>2017</a:t>
              </a:r>
              <a:endParaRPr lang="ru-RU" altLang="ru-RU" sz="1400" b="1" dirty="0">
                <a:solidFill>
                  <a:srgbClr val="000000"/>
                </a:solidFill>
              </a:endParaRPr>
            </a:p>
          </p:txBody>
        </p:sp>
        <p:cxnSp>
          <p:nvCxnSpPr>
            <p:cNvPr id="29" name="Прямая со стрелкой 28"/>
            <p:cNvCxnSpPr/>
            <p:nvPr/>
          </p:nvCxnSpPr>
          <p:spPr>
            <a:xfrm flipV="1">
              <a:off x="338994" y="4008664"/>
              <a:ext cx="20391" cy="2181048"/>
            </a:xfrm>
            <a:prstGeom prst="straightConnector1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 стрелкой 29"/>
            <p:cNvCxnSpPr/>
            <p:nvPr/>
          </p:nvCxnSpPr>
          <p:spPr>
            <a:xfrm>
              <a:off x="338994" y="6194596"/>
              <a:ext cx="6698625" cy="9803"/>
            </a:xfrm>
            <a:prstGeom prst="straightConnector1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Прямая соединительная линия 30"/>
            <p:cNvCxnSpPr/>
            <p:nvPr/>
          </p:nvCxnSpPr>
          <p:spPr>
            <a:xfrm flipV="1">
              <a:off x="764972" y="5397352"/>
              <a:ext cx="1671725" cy="363008"/>
            </a:xfrm>
            <a:prstGeom prst="line">
              <a:avLst/>
            </a:prstGeom>
            <a:ln w="222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Прямая соединительная линия 31"/>
            <p:cNvCxnSpPr/>
            <p:nvPr/>
          </p:nvCxnSpPr>
          <p:spPr>
            <a:xfrm flipH="1">
              <a:off x="352292" y="5387252"/>
              <a:ext cx="61905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Прямая соединительная линия 32"/>
            <p:cNvCxnSpPr/>
            <p:nvPr/>
          </p:nvCxnSpPr>
          <p:spPr>
            <a:xfrm flipH="1">
              <a:off x="352292" y="4642680"/>
              <a:ext cx="61905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Прямая соединительная линия 33"/>
            <p:cNvCxnSpPr/>
            <p:nvPr/>
          </p:nvCxnSpPr>
          <p:spPr>
            <a:xfrm flipH="1">
              <a:off x="352292" y="5767664"/>
              <a:ext cx="61905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Прямая соединительная линия 34"/>
            <p:cNvCxnSpPr/>
            <p:nvPr/>
          </p:nvCxnSpPr>
          <p:spPr>
            <a:xfrm flipH="1">
              <a:off x="352292" y="5016396"/>
              <a:ext cx="61905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Прямая соединительная линия 35"/>
            <p:cNvCxnSpPr/>
            <p:nvPr/>
          </p:nvCxnSpPr>
          <p:spPr>
            <a:xfrm flipH="1">
              <a:off x="360456" y="4297784"/>
              <a:ext cx="61905" cy="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Прямая соединительная линия 36"/>
            <p:cNvCxnSpPr/>
            <p:nvPr/>
          </p:nvCxnSpPr>
          <p:spPr>
            <a:xfrm flipV="1">
              <a:off x="773136" y="6133126"/>
              <a:ext cx="0" cy="6147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Прямая соединительная линия 37"/>
            <p:cNvCxnSpPr/>
            <p:nvPr/>
          </p:nvCxnSpPr>
          <p:spPr>
            <a:xfrm flipV="1">
              <a:off x="2443073" y="6130752"/>
              <a:ext cx="0" cy="6147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Прямая соединительная линия 38"/>
            <p:cNvCxnSpPr/>
            <p:nvPr/>
          </p:nvCxnSpPr>
          <p:spPr>
            <a:xfrm flipV="1">
              <a:off x="6392516" y="6130752"/>
              <a:ext cx="0" cy="6147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0" name="Прямая соединительная линия 39"/>
            <p:cNvCxnSpPr/>
            <p:nvPr/>
          </p:nvCxnSpPr>
          <p:spPr>
            <a:xfrm flipV="1">
              <a:off x="4566562" y="6130752"/>
              <a:ext cx="0" cy="61470"/>
            </a:xfrm>
            <a:prstGeom prst="line">
              <a:avLst/>
            </a:prstGeom>
            <a:ln>
              <a:solidFill>
                <a:schemeClr val="accent6">
                  <a:lumMod val="60000"/>
                  <a:lumOff val="40000"/>
                </a:schemeClr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Прямая соединительная линия 40"/>
            <p:cNvCxnSpPr/>
            <p:nvPr/>
          </p:nvCxnSpPr>
          <p:spPr>
            <a:xfrm flipV="1">
              <a:off x="2446155" y="4837252"/>
              <a:ext cx="2118630" cy="560101"/>
            </a:xfrm>
            <a:prstGeom prst="line">
              <a:avLst/>
            </a:prstGeom>
            <a:ln w="22225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Прямая соединительная линия 41"/>
            <p:cNvCxnSpPr/>
            <p:nvPr/>
          </p:nvCxnSpPr>
          <p:spPr>
            <a:xfrm flipV="1">
              <a:off x="4578305" y="4441801"/>
              <a:ext cx="1856589" cy="387832"/>
            </a:xfrm>
            <a:prstGeom prst="line">
              <a:avLst/>
            </a:prstGeom>
            <a:ln w="22225">
              <a:headEnd type="oval"/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6"/>
            <p:cNvSpPr txBox="1">
              <a:spLocks noChangeArrowheads="1"/>
            </p:cNvSpPr>
            <p:nvPr/>
          </p:nvSpPr>
          <p:spPr bwMode="auto">
            <a:xfrm>
              <a:off x="8285521" y="5318085"/>
              <a:ext cx="1892342" cy="41549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>
              <a:lvl1pPr>
                <a:lnSpc>
                  <a:spcPct val="110000"/>
                </a:lnSpc>
                <a:spcBef>
                  <a:spcPct val="40000"/>
                </a:spcBef>
                <a:spcAft>
                  <a:spcPct val="20000"/>
                </a:spcAft>
                <a:buBlip>
                  <a:blip r:embed="rId2"/>
                </a:buBlip>
                <a:defRPr sz="1600">
                  <a:solidFill>
                    <a:schemeClr val="tx1"/>
                  </a:solidFill>
                  <a:latin typeface="Arial" charset="0"/>
                  <a:cs typeface="Arial" charset="0"/>
                </a:defRPr>
              </a:lvl1pPr>
              <a:lvl2pPr marL="742950" indent="-285750">
                <a:lnSpc>
                  <a:spcPct val="110000"/>
                </a:lnSpc>
                <a:spcAft>
                  <a:spcPct val="20000"/>
                </a:spcAft>
                <a:buBlip>
                  <a:blip r:embed="rId3"/>
                </a:buBlip>
                <a:defRPr sz="1400">
                  <a:solidFill>
                    <a:schemeClr val="tx1"/>
                  </a:solidFill>
                  <a:latin typeface="Arial" charset="0"/>
                  <a:cs typeface="Arial" charset="0"/>
                </a:defRPr>
              </a:lvl2pPr>
              <a:lvl3pPr marL="1143000" indent="-228600">
                <a:spcAft>
                  <a:spcPct val="30000"/>
                </a:spcAft>
                <a:buBlip>
                  <a:blip r:embed="rId3"/>
                </a:buBlip>
                <a:defRPr sz="2200">
                  <a:solidFill>
                    <a:schemeClr val="tx1"/>
                  </a:solidFill>
                  <a:latin typeface="Arial" charset="0"/>
                  <a:cs typeface="Arial" charset="0"/>
                </a:defRPr>
              </a:lvl3pPr>
              <a:lvl4pPr marL="1600200" indent="-228600">
                <a:spcBef>
                  <a:spcPct val="20000"/>
                </a:spcBef>
                <a:buChar char="–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4pPr>
              <a:lvl5pPr marL="2057400" indent="-228600">
                <a:spcBef>
                  <a:spcPct val="20000"/>
                </a:spcBef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000">
                  <a:solidFill>
                    <a:schemeClr val="tx1"/>
                  </a:solidFill>
                  <a:latin typeface="Arial" charset="0"/>
                  <a:cs typeface="Arial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FontTx/>
                <a:buNone/>
              </a:pPr>
              <a:r>
                <a:rPr lang="ru-RU" altLang="ru-RU" sz="1050" b="1" dirty="0" smtClean="0">
                  <a:solidFill>
                    <a:srgbClr val="0070C0"/>
                  </a:solidFill>
                </a:rPr>
                <a:t>Максимальный вес  критерия «ЦЕНА», %</a:t>
              </a:r>
              <a:endParaRPr lang="ru-RU" altLang="ru-RU" sz="1050" b="1" dirty="0">
                <a:solidFill>
                  <a:srgbClr val="0070C0"/>
                </a:solidFill>
              </a:endParaRPr>
            </a:p>
          </p:txBody>
        </p:sp>
        <p:sp>
          <p:nvSpPr>
            <p:cNvPr id="44" name="Прямоугольник 3"/>
            <p:cNvSpPr>
              <a:spLocks noChangeArrowheads="1"/>
            </p:cNvSpPr>
            <p:nvPr/>
          </p:nvSpPr>
          <p:spPr bwMode="auto">
            <a:xfrm>
              <a:off x="97363" y="5912725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 smtClean="0">
                  <a:solidFill>
                    <a:srgbClr val="0070C0"/>
                  </a:solidFill>
                  <a:latin typeface="Arial" charset="0"/>
                  <a:cs typeface="Arial" charset="0"/>
                </a:rPr>
                <a:t>55%</a:t>
              </a:r>
              <a:endParaRPr lang="ru-RU" altLang="ru-RU" sz="1400" b="1" dirty="0">
                <a:solidFill>
                  <a:srgbClr val="0070C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5" name="Прямоугольник 3"/>
            <p:cNvSpPr>
              <a:spLocks noChangeArrowheads="1"/>
            </p:cNvSpPr>
            <p:nvPr/>
          </p:nvSpPr>
          <p:spPr bwMode="auto">
            <a:xfrm>
              <a:off x="1776899" y="5562864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 smtClean="0">
                  <a:solidFill>
                    <a:srgbClr val="0070C0"/>
                  </a:solidFill>
                  <a:latin typeface="Arial" charset="0"/>
                  <a:cs typeface="Arial" charset="0"/>
                </a:rPr>
                <a:t>70%</a:t>
              </a:r>
              <a:endParaRPr lang="ru-RU" altLang="ru-RU" sz="1400" b="1" dirty="0">
                <a:solidFill>
                  <a:srgbClr val="0070C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6" name="Прямоугольник 3"/>
            <p:cNvSpPr>
              <a:spLocks noChangeArrowheads="1"/>
            </p:cNvSpPr>
            <p:nvPr/>
          </p:nvSpPr>
          <p:spPr bwMode="auto">
            <a:xfrm>
              <a:off x="3940377" y="4998274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 smtClean="0">
                  <a:solidFill>
                    <a:srgbClr val="0070C0"/>
                  </a:solidFill>
                  <a:latin typeface="Arial" charset="0"/>
                  <a:cs typeface="Arial" charset="0"/>
                </a:rPr>
                <a:t>75%</a:t>
              </a:r>
              <a:endParaRPr lang="ru-RU" altLang="ru-RU" sz="1400" b="1" dirty="0">
                <a:solidFill>
                  <a:srgbClr val="0070C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7" name="Прямоугольник 3"/>
            <p:cNvSpPr>
              <a:spLocks noChangeArrowheads="1"/>
            </p:cNvSpPr>
            <p:nvPr/>
          </p:nvSpPr>
          <p:spPr bwMode="auto">
            <a:xfrm>
              <a:off x="5780702" y="4624222"/>
              <a:ext cx="934968" cy="30776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91430" tIns="45716" rIns="91430" bIns="45716">
              <a:spAutoFit/>
            </a:bodyPr>
            <a:lstStyle/>
            <a:p>
              <a:pPr algn="ctr">
                <a:spcBef>
                  <a:spcPct val="0"/>
                </a:spcBef>
                <a:spcAft>
                  <a:spcPct val="0"/>
                </a:spcAft>
              </a:pPr>
              <a:r>
                <a:rPr lang="ru-RU" altLang="ru-RU" sz="1400" b="1" dirty="0" smtClean="0">
                  <a:solidFill>
                    <a:srgbClr val="0070C0"/>
                  </a:solidFill>
                  <a:latin typeface="Arial" charset="0"/>
                  <a:cs typeface="Arial" charset="0"/>
                </a:rPr>
                <a:t>90%</a:t>
              </a:r>
              <a:endParaRPr lang="ru-RU" altLang="ru-RU" sz="1400" b="1" dirty="0">
                <a:solidFill>
                  <a:srgbClr val="0070C0"/>
                </a:solidFill>
                <a:latin typeface="Arial" charset="0"/>
                <a:cs typeface="Arial" charset="0"/>
              </a:endParaRPr>
            </a:p>
          </p:txBody>
        </p:sp>
        <p:sp>
          <p:nvSpPr>
            <p:cNvPr id="48" name="Овал 47"/>
            <p:cNvSpPr/>
            <p:nvPr/>
          </p:nvSpPr>
          <p:spPr>
            <a:xfrm>
              <a:off x="726606" y="5498606"/>
              <a:ext cx="45719" cy="4571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49" name="Овал 48"/>
            <p:cNvSpPr/>
            <p:nvPr/>
          </p:nvSpPr>
          <p:spPr>
            <a:xfrm>
              <a:off x="911662" y="5887762"/>
              <a:ext cx="45719" cy="45719"/>
            </a:xfrm>
            <a:prstGeom prst="ellipse">
              <a:avLst/>
            </a:prstGeom>
            <a:solidFill>
              <a:srgbClr val="009900"/>
            </a:solidFill>
            <a:ln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0" name="Овал 49"/>
            <p:cNvSpPr/>
            <p:nvPr/>
          </p:nvSpPr>
          <p:spPr>
            <a:xfrm>
              <a:off x="536118" y="5887762"/>
              <a:ext cx="45719" cy="45719"/>
            </a:xfrm>
            <a:prstGeom prst="ellips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1" name="Овал 50"/>
            <p:cNvSpPr/>
            <p:nvPr/>
          </p:nvSpPr>
          <p:spPr>
            <a:xfrm>
              <a:off x="2413838" y="5136674"/>
              <a:ext cx="45719" cy="4571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2" name="Овал 51"/>
            <p:cNvSpPr/>
            <p:nvPr/>
          </p:nvSpPr>
          <p:spPr>
            <a:xfrm>
              <a:off x="2598894" y="5525830"/>
              <a:ext cx="45719" cy="45719"/>
            </a:xfrm>
            <a:prstGeom prst="ellipse">
              <a:avLst/>
            </a:prstGeom>
            <a:solidFill>
              <a:srgbClr val="009900"/>
            </a:solidFill>
            <a:ln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3" name="Овал 52"/>
            <p:cNvSpPr/>
            <p:nvPr/>
          </p:nvSpPr>
          <p:spPr>
            <a:xfrm>
              <a:off x="2223350" y="5525830"/>
              <a:ext cx="45719" cy="45719"/>
            </a:xfrm>
            <a:prstGeom prst="ellips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4" name="Овал 53"/>
            <p:cNvSpPr/>
            <p:nvPr/>
          </p:nvSpPr>
          <p:spPr>
            <a:xfrm>
              <a:off x="4566418" y="4578806"/>
              <a:ext cx="45719" cy="4571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5" name="Овал 54"/>
            <p:cNvSpPr/>
            <p:nvPr/>
          </p:nvSpPr>
          <p:spPr>
            <a:xfrm>
              <a:off x="4751474" y="4967962"/>
              <a:ext cx="45719" cy="45719"/>
            </a:xfrm>
            <a:prstGeom prst="ellipse">
              <a:avLst/>
            </a:prstGeom>
            <a:solidFill>
              <a:srgbClr val="009900"/>
            </a:solidFill>
            <a:ln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6" name="Овал 55"/>
            <p:cNvSpPr/>
            <p:nvPr/>
          </p:nvSpPr>
          <p:spPr>
            <a:xfrm>
              <a:off x="4375930" y="4967962"/>
              <a:ext cx="45719" cy="45719"/>
            </a:xfrm>
            <a:prstGeom prst="ellips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7" name="Овал 56"/>
            <p:cNvSpPr/>
            <p:nvPr/>
          </p:nvSpPr>
          <p:spPr>
            <a:xfrm>
              <a:off x="6408766" y="4200546"/>
              <a:ext cx="45719" cy="45719"/>
            </a:xfrm>
            <a:prstGeom prst="ellips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8" name="Овал 57"/>
            <p:cNvSpPr/>
            <p:nvPr/>
          </p:nvSpPr>
          <p:spPr>
            <a:xfrm>
              <a:off x="6593822" y="4589702"/>
              <a:ext cx="45719" cy="45719"/>
            </a:xfrm>
            <a:prstGeom prst="ellipse">
              <a:avLst/>
            </a:prstGeom>
            <a:solidFill>
              <a:srgbClr val="009900"/>
            </a:solidFill>
            <a:ln>
              <a:solidFill>
                <a:srgbClr val="0099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59" name="Овал 58"/>
            <p:cNvSpPr/>
            <p:nvPr/>
          </p:nvSpPr>
          <p:spPr>
            <a:xfrm>
              <a:off x="6218278" y="4589702"/>
              <a:ext cx="45719" cy="45719"/>
            </a:xfrm>
            <a:prstGeom prst="ellipse">
              <a:avLst/>
            </a:prstGeom>
            <a:solidFill>
              <a:srgbClr val="0070C0"/>
            </a:solidFill>
            <a:ln>
              <a:solidFill>
                <a:srgbClr val="0070C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aphicFrame>
        <p:nvGraphicFramePr>
          <p:cNvPr id="61" name="Таблица 6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99825696"/>
              </p:ext>
            </p:extLst>
          </p:nvPr>
        </p:nvGraphicFramePr>
        <p:xfrm>
          <a:off x="279400" y="3589866"/>
          <a:ext cx="9313916" cy="2700652"/>
        </p:xfrm>
        <a:graphic>
          <a:graphicData uri="http://schemas.openxmlformats.org/drawingml/2006/table">
            <a:tbl>
              <a:tblPr firstRow="1" bandRow="1">
                <a:tableStyleId>{ED083AE6-46FA-4A59-8FB0-9F97EB10719F}</a:tableStyleId>
              </a:tblPr>
              <a:tblGrid>
                <a:gridCol w="18627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4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30912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5944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86278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49706"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2010 – 2011 гг.</a:t>
                      </a:r>
                      <a:endParaRPr lang="ru-RU" sz="1100" b="1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2012</a:t>
                      </a:r>
                      <a:r>
                        <a:rPr lang="ru-RU" sz="1100" b="1" kern="1200" baseline="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 – 2013 гг.</a:t>
                      </a:r>
                      <a:endParaRPr lang="ru-RU" sz="1100" b="1" kern="120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2014 – 2015 гг.</a:t>
                      </a:r>
                      <a:endParaRPr lang="ru-RU" sz="1100" b="1" kern="1200" baseline="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2016 – 2017 гг.</a:t>
                      </a:r>
                      <a:endParaRPr lang="ru-RU" sz="1100" b="1" kern="1200" baseline="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baseline="0" dirty="0" smtClean="0">
                          <a:solidFill>
                            <a:srgbClr val="000000"/>
                          </a:solidFill>
                          <a:latin typeface="Arial" charset="0"/>
                          <a:ea typeface="+mn-ea"/>
                          <a:cs typeface="Arial" charset="0"/>
                        </a:rPr>
                        <a:t>План на 2018 г.</a:t>
                      </a:r>
                      <a:endParaRPr lang="ru-RU" sz="1100" b="1" kern="1200" baseline="0" dirty="0">
                        <a:solidFill>
                          <a:srgbClr val="000000"/>
                        </a:solidFill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1572">
                <a:tc>
                  <a:txBody>
                    <a:bodyPr/>
                    <a:lstStyle/>
                    <a:p>
                      <a:pPr>
                        <a:buFont typeface="Wingdings" pitchFamily="2" charset="2"/>
                        <a:buNone/>
                      </a:pP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Требования аналогичные</a:t>
                      </a:r>
                      <a:r>
                        <a:rPr lang="ru-RU" sz="1000" b="1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 94-ФЗ:</a:t>
                      </a:r>
                      <a:endParaRPr lang="en-US" sz="1000" b="1" kern="1200" dirty="0" smtClean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Общая правоспособность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пециальная правоспособность (лицензии, разрешения, СРО и т.д.)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ru-RU" sz="1000" dirty="0" smtClean="0"/>
                        <a:t>Отсутствие ликвидации 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ru-RU" sz="1000" dirty="0" smtClean="0"/>
                        <a:t>Отсутствие</a:t>
                      </a:r>
                      <a:r>
                        <a:rPr lang="ru-RU" sz="1000" baseline="0" dirty="0" smtClean="0"/>
                        <a:t> ареста имущества</a:t>
                      </a:r>
                    </a:p>
                    <a:p>
                      <a:pPr>
                        <a:buFont typeface="Wingdings" pitchFamily="2" charset="2"/>
                        <a:buChar char="§"/>
                      </a:pPr>
                      <a:r>
                        <a:rPr lang="ru-RU" sz="1000" baseline="0" dirty="0" smtClean="0"/>
                        <a:t>Отсутствие задолженности по налогам и сборам и т.д.</a:t>
                      </a:r>
                      <a:endParaRPr lang="ru-RU" sz="10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 Отсутствие в РНП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 Подтверждение от изготовителя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1000" dirty="0" smtClean="0"/>
                        <a:t>и т.д.</a:t>
                      </a:r>
                      <a:endParaRPr lang="ru-RU" sz="10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Раскрытие бенефициаров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 В</a:t>
                      </a:r>
                      <a:r>
                        <a:rPr lang="ru-RU" sz="1000" baseline="0" dirty="0" smtClean="0"/>
                        <a:t>ыполнение части работ собственными силами 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Наличие опыта работ, поставок (за последние три года, 40 % от НМЦ)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Наличие МТР и кадров  (по ПОС, сметам, 100% на первый год)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Требования к субподрядчикам и к изготовителям (лицензии, опыт, наличие СМК)</a:t>
                      </a:r>
                    </a:p>
                    <a:p>
                      <a:pPr>
                        <a:buFont typeface="Arial" pitchFamily="34" charset="0"/>
                        <a:buNone/>
                      </a:pPr>
                      <a:r>
                        <a:rPr lang="ru-RU" sz="1000" baseline="0" dirty="0" smtClean="0"/>
                        <a:t>и т.д.</a:t>
                      </a:r>
                    </a:p>
                    <a:p>
                      <a:pPr>
                        <a:buFont typeface="Arial" pitchFamily="34" charset="0"/>
                        <a:buChar char="•"/>
                      </a:pPr>
                      <a:endParaRPr lang="ru-RU" sz="10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dirty="0" smtClean="0"/>
                        <a:t>Аудит достоверности данных 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1000" dirty="0" smtClean="0"/>
                        <a:t>Правила открыты и прозрачны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1000" dirty="0" smtClean="0"/>
                        <a:t>Результат подписывается поставщиком и заказчиком</a:t>
                      </a:r>
                    </a:p>
                    <a:p>
                      <a:pPr marL="171450" indent="-171450">
                        <a:buFont typeface="Wingdings" panose="05000000000000000000" pitchFamily="2" charset="2"/>
                        <a:buChar char="ü"/>
                      </a:pPr>
                      <a:r>
                        <a:rPr lang="ru-RU" sz="1000" dirty="0" smtClean="0"/>
                        <a:t>Обжалование</a:t>
                      </a:r>
                      <a:r>
                        <a:rPr lang="ru-RU" sz="1000" baseline="0" dirty="0" smtClean="0"/>
                        <a:t> результатов</a:t>
                      </a:r>
                      <a:endParaRPr lang="ru-RU" sz="1000" dirty="0"/>
                    </a:p>
                  </a:txBody>
                  <a:tcPr>
                    <a:solidFill>
                      <a:schemeClr val="bg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buFont typeface="Arial" pitchFamily="34" charset="0"/>
                        <a:buChar char="•"/>
                      </a:pPr>
                      <a:r>
                        <a:rPr lang="ru-RU" sz="1000" baseline="0" dirty="0" smtClean="0"/>
                        <a:t> Отсутствие не устраненных коренных причин несоответствий</a:t>
                      </a:r>
                      <a:endParaRPr lang="ru-RU" sz="1000" dirty="0"/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  <a:alpha val="50196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601351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1_Оформление по умолчанию">
  <a:themeElements>
    <a:clrScheme name="10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0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2_Оформление по умолчанию">
  <a:themeElements>
    <a:clrScheme name="10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10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0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8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13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4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1.xml><?xml version="1.0" encoding="utf-8"?>
<a:theme xmlns:a="http://schemas.openxmlformats.org/drawingml/2006/main" name="15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2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3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4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5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6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7.xml><?xml version="1.0" encoding="utf-8"?>
<a:theme xmlns:a="http://schemas.openxmlformats.org/drawingml/2006/main" name="16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20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1.xml><?xml version="1.0" encoding="utf-8"?>
<a:theme xmlns:a="http://schemas.openxmlformats.org/drawingml/2006/main" name="1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2.xml><?xml version="1.0" encoding="utf-8"?>
<a:theme xmlns:a="http://schemas.openxmlformats.org/drawingml/2006/main" name="31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3.xml><?xml version="1.0" encoding="utf-8"?>
<a:theme xmlns:a="http://schemas.openxmlformats.org/drawingml/2006/main" name="2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4.xml><?xml version="1.0" encoding="utf-8"?>
<a:theme xmlns:a="http://schemas.openxmlformats.org/drawingml/2006/main" name="2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5.xml><?xml version="1.0" encoding="utf-8"?>
<a:theme xmlns:a="http://schemas.openxmlformats.org/drawingml/2006/main" name="2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6.xml><?xml version="1.0" encoding="utf-8"?>
<a:theme xmlns:a="http://schemas.openxmlformats.org/drawingml/2006/main" name="2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7.xml><?xml version="1.0" encoding="utf-8"?>
<a:theme xmlns:a="http://schemas.openxmlformats.org/drawingml/2006/main" name="17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8.xml><?xml version="1.0" encoding="utf-8"?>
<a:theme xmlns:a="http://schemas.openxmlformats.org/drawingml/2006/main" name="32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9.xml><?xml version="1.0" encoding="utf-8"?>
<a:theme xmlns:a="http://schemas.openxmlformats.org/drawingml/2006/main" name="2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800" b="0" i="1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2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1.xml><?xml version="1.0" encoding="utf-8"?>
<a:theme xmlns:a="http://schemas.openxmlformats.org/drawingml/2006/main" name="2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2.xml><?xml version="1.0" encoding="utf-8"?>
<a:theme xmlns:a="http://schemas.openxmlformats.org/drawingml/2006/main" name="2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3.xml><?xml version="1.0" encoding="utf-8"?>
<a:theme xmlns:a="http://schemas.openxmlformats.org/drawingml/2006/main" name="2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4.xml><?xml version="1.0" encoding="utf-8"?>
<a:theme xmlns:a="http://schemas.openxmlformats.org/drawingml/2006/main" name="2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5.xml><?xml version="1.0" encoding="utf-8"?>
<a:theme xmlns:a="http://schemas.openxmlformats.org/drawingml/2006/main" name="2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6.xml><?xml version="1.0" encoding="utf-8"?>
<a:theme xmlns:a="http://schemas.openxmlformats.org/drawingml/2006/main" name="3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7.xml><?xml version="1.0" encoding="utf-8"?>
<a:theme xmlns:a="http://schemas.openxmlformats.org/drawingml/2006/main" name="3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8.xml><?xml version="1.0" encoding="utf-8"?>
<a:theme xmlns:a="http://schemas.openxmlformats.org/drawingml/2006/main" name="3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9.xml><?xml version="1.0" encoding="utf-8"?>
<a:theme xmlns:a="http://schemas.openxmlformats.org/drawingml/2006/main" name="30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0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0.xml><?xml version="1.0" encoding="utf-8"?>
<a:theme xmlns:a="http://schemas.openxmlformats.org/drawingml/2006/main" name="3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1.xml><?xml version="1.0" encoding="utf-8"?>
<a:theme xmlns:a="http://schemas.openxmlformats.org/drawingml/2006/main" name="3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2.xml><?xml version="1.0" encoding="utf-8"?>
<a:theme xmlns:a="http://schemas.openxmlformats.org/drawingml/2006/main" name="3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3.xml><?xml version="1.0" encoding="utf-8"?>
<a:theme xmlns:a="http://schemas.openxmlformats.org/drawingml/2006/main" name="3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4.xml><?xml version="1.0" encoding="utf-8"?>
<a:theme xmlns:a="http://schemas.openxmlformats.org/drawingml/2006/main" name="3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5.xml><?xml version="1.0" encoding="utf-8"?>
<a:theme xmlns:a="http://schemas.openxmlformats.org/drawingml/2006/main" name="33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6.xml><?xml version="1.0" encoding="utf-8"?>
<a:theme xmlns:a="http://schemas.openxmlformats.org/drawingml/2006/main" name="3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7.xml><?xml version="1.0" encoding="utf-8"?>
<a:theme xmlns:a="http://schemas.openxmlformats.org/drawingml/2006/main" name="34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8.xml><?xml version="1.0" encoding="utf-8"?>
<a:theme xmlns:a="http://schemas.openxmlformats.org/drawingml/2006/main" name="3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9.xml><?xml version="1.0" encoding="utf-8"?>
<a:theme xmlns:a="http://schemas.openxmlformats.org/drawingml/2006/main" name="4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9_Оформление по умолчанию">
  <a:themeElements>
    <a:clrScheme name="8_Оформление по умолчанию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8_Оформление по умолчанию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8_Оформление по умолчанию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8_Оформление по умолчанию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0.xml><?xml version="1.0" encoding="utf-8"?>
<a:theme xmlns:a="http://schemas.openxmlformats.org/drawingml/2006/main" name="4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1.xml><?xml version="1.0" encoding="utf-8"?>
<a:theme xmlns:a="http://schemas.openxmlformats.org/drawingml/2006/main" name="4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3967</TotalTime>
  <Words>202</Words>
  <Application>Microsoft Office PowerPoint</Application>
  <PresentationFormat>Лист A4 (210x297 мм)</PresentationFormat>
  <Paragraphs>52</Paragraphs>
  <Slides>1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6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66" baseType="lpstr">
      <vt:lpstr>Arial</vt:lpstr>
      <vt:lpstr>Calibri</vt:lpstr>
      <vt:lpstr>Wingdings</vt:lpstr>
      <vt:lpstr>4_b-default</vt:lpstr>
      <vt:lpstr>b-default</vt:lpstr>
      <vt:lpstr>9_Оформление по умолчанию</vt:lpstr>
      <vt:lpstr>1_b-default</vt:lpstr>
      <vt:lpstr>10_Оформление по умолчанию</vt:lpstr>
      <vt:lpstr>19_Оформление по умолчанию</vt:lpstr>
      <vt:lpstr>2_b-default</vt:lpstr>
      <vt:lpstr>3_b-default</vt:lpstr>
      <vt:lpstr>5_b-default</vt:lpstr>
      <vt:lpstr>6_b-default</vt:lpstr>
      <vt:lpstr>7_b-default</vt:lpstr>
      <vt:lpstr>8_b-default</vt:lpstr>
      <vt:lpstr>9_b-default</vt:lpstr>
      <vt:lpstr>10_b-default</vt:lpstr>
      <vt:lpstr>11_b-default</vt:lpstr>
      <vt:lpstr>11_Оформление по умолчанию</vt:lpstr>
      <vt:lpstr>12_Оформление по умолчанию</vt:lpstr>
      <vt:lpstr>8_Оформление по умолчанию</vt:lpstr>
      <vt:lpstr>13_Оформление по умолчанию</vt:lpstr>
      <vt:lpstr>14_Оформление по умолчанию</vt:lpstr>
      <vt:lpstr>15_Оформление по умолчанию</vt:lpstr>
      <vt:lpstr>12_b-default</vt:lpstr>
      <vt:lpstr>13_b-default</vt:lpstr>
      <vt:lpstr>14_b-default</vt:lpstr>
      <vt:lpstr>15_b-default</vt:lpstr>
      <vt:lpstr>16_b-default</vt:lpstr>
      <vt:lpstr>16_Оформление по умолчанию</vt:lpstr>
      <vt:lpstr>17_b-default</vt:lpstr>
      <vt:lpstr>18_b-default</vt:lpstr>
      <vt:lpstr>20_Оформление по умолчанию</vt:lpstr>
      <vt:lpstr>19_b-default</vt:lpstr>
      <vt:lpstr>31_Оформление по умолчанию</vt:lpstr>
      <vt:lpstr>20_b-default</vt:lpstr>
      <vt:lpstr>21_b-default</vt:lpstr>
      <vt:lpstr>22_b-default</vt:lpstr>
      <vt:lpstr>23_b-default</vt:lpstr>
      <vt:lpstr>17_Оформление по умолчанию</vt:lpstr>
      <vt:lpstr>32_Оформление по умолчанию</vt:lpstr>
      <vt:lpstr>24_b-default</vt:lpstr>
      <vt:lpstr>25_b-default</vt:lpstr>
      <vt:lpstr>26_b-default</vt:lpstr>
      <vt:lpstr>27_b-default</vt:lpstr>
      <vt:lpstr>28_b-default</vt:lpstr>
      <vt:lpstr>29_Оформление по умолчанию</vt:lpstr>
      <vt:lpstr>29_b-default</vt:lpstr>
      <vt:lpstr>30_b-default</vt:lpstr>
      <vt:lpstr>31_b-default</vt:lpstr>
      <vt:lpstr>32_b-default</vt:lpstr>
      <vt:lpstr>30_Оформление по умолчанию</vt:lpstr>
      <vt:lpstr>33_b-default</vt:lpstr>
      <vt:lpstr>34_b-default</vt:lpstr>
      <vt:lpstr>35_b-default</vt:lpstr>
      <vt:lpstr>36_b-default</vt:lpstr>
      <vt:lpstr>37_b-default</vt:lpstr>
      <vt:lpstr>33_Оформление по умолчанию</vt:lpstr>
      <vt:lpstr>38_b-default</vt:lpstr>
      <vt:lpstr>34_Оформление по умолчанию</vt:lpstr>
      <vt:lpstr>39_b-default</vt:lpstr>
      <vt:lpstr>40_b-default</vt:lpstr>
      <vt:lpstr>41_b-default</vt:lpstr>
      <vt:lpstr>42_b-default</vt:lpstr>
      <vt:lpstr>think-cell Slide</vt:lpstr>
      <vt:lpstr>Развитие системы требований к поставщикам</vt:lpstr>
    </vt:vector>
  </TitlesOfParts>
  <Company>Dez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Рягузова Оксана Валентиновна</dc:creator>
  <cp:lastModifiedBy>EMT</cp:lastModifiedBy>
  <cp:revision>523</cp:revision>
  <cp:lastPrinted>2018-12-03T06:10:53Z</cp:lastPrinted>
  <dcterms:created xsi:type="dcterms:W3CDTF">2017-10-17T09:11:05Z</dcterms:created>
  <dcterms:modified xsi:type="dcterms:W3CDTF">2018-12-04T06:17:14Z</dcterms:modified>
</cp:coreProperties>
</file>